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9"/>
  </p:notesMasterIdLst>
  <p:sldIdLst>
    <p:sldId id="256" r:id="rId2"/>
    <p:sldId id="257" r:id="rId3"/>
    <p:sldId id="258" r:id="rId4"/>
    <p:sldId id="259" r:id="rId5"/>
    <p:sldId id="260" r:id="rId6"/>
    <p:sldId id="1018" r:id="rId7"/>
    <p:sldId id="1030" r:id="rId8"/>
  </p:sldIdLst>
  <p:sldSz cx="12192000" cy="6858000"/>
  <p:notesSz cx="9144000" cy="6858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8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1" roundtripDataSignature="AMtx7mgtRryk/7UnIzLx5g+xaRTQA7S1b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49"/>
    <p:restoredTop sz="94643"/>
  </p:normalViewPr>
  <p:slideViewPr>
    <p:cSldViewPr snapToGrid="0">
      <p:cViewPr varScale="1">
        <p:scale>
          <a:sx n="111" d="100"/>
          <a:sy n="111" d="100"/>
        </p:scale>
        <p:origin x="240" y="488"/>
      </p:cViewPr>
      <p:guideLst>
        <p:guide pos="3840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160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5179484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651391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1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" name="Google Shape;11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2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3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8" name="Google Shape;1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4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" name="Google Shape;1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5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1" name="Google Shape;14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Titel Slide 3">
  <p:cSld name="4_Titel Slide 3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oogle Shape;19;p7" descr="Ein Bild, das Text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 r="7774"/>
          <a:stretch/>
        </p:blipFill>
        <p:spPr>
          <a:xfrm>
            <a:off x="2704829" y="0"/>
            <a:ext cx="9487171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7"/>
          <p:cNvSpPr/>
          <p:nvPr/>
        </p:nvSpPr>
        <p:spPr>
          <a:xfrm>
            <a:off x="1" y="0"/>
            <a:ext cx="8438415" cy="6858000"/>
          </a:xfrm>
          <a:custGeom>
            <a:avLst/>
            <a:gdLst/>
            <a:ahLst/>
            <a:cxnLst/>
            <a:rect l="l" t="t" r="r" b="b"/>
            <a:pathLst>
              <a:path w="8438415" h="6858000" extrusionOk="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7"/>
          <p:cNvSpPr txBox="1"/>
          <p:nvPr/>
        </p:nvSpPr>
        <p:spPr>
          <a:xfrm>
            <a:off x="5330190" y="122578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252000" marR="0" lvl="0" indent="-91100" algn="l" rtl="0">
              <a:spcBef>
                <a:spcPts val="0"/>
              </a:spcBef>
              <a:spcAft>
                <a:spcPts val="0"/>
              </a:spcAft>
              <a:buClr>
                <a:srgbClr val="FE6400"/>
              </a:buClr>
              <a:buSzPts val="1400"/>
              <a:buFont typeface="Noto Sans Symbols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7"/>
          <p:cNvSpPr txBox="1"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7"/>
          <p:cNvSpPr txBox="1"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spcBef>
                <a:spcPts val="200"/>
              </a:spcBef>
              <a:spcAft>
                <a:spcPts val="0"/>
              </a:spcAft>
              <a:buSzPts val="2400"/>
              <a:buNone/>
              <a:defRPr sz="2400">
                <a:solidFill>
                  <a:srgbClr val="D7D7D7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2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spcBef>
                <a:spcPts val="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spcBef>
                <a:spcPts val="32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spcBef>
                <a:spcPts val="32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6pPr>
            <a:lvl7pPr lvl="6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7pPr>
            <a:lvl8pPr lvl="7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8pPr>
            <a:lvl9pPr lvl="8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7"/>
          <p:cNvSpPr/>
          <p:nvPr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25;p7"/>
          <p:cNvSpPr txBox="1">
            <a:spLocks noGrp="1"/>
          </p:cNvSpPr>
          <p:nvPr>
            <p:ph type="ftr" idx="11"/>
          </p:nvPr>
        </p:nvSpPr>
        <p:spPr>
          <a:xfrm>
            <a:off x="7022184" y="6355495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6" name="Google Shape;26;p7" descr="Ein Bild, das Text, ClipArt enthält.&#10;&#10;Automatisch generierte Beschreibung"/>
          <p:cNvPicPr preferRelativeResize="0"/>
          <p:nvPr/>
        </p:nvPicPr>
        <p:blipFill rotWithShape="1">
          <a:blip r:embed="rId3">
            <a:alphaModFix/>
          </a:blip>
          <a:srcRect l="66012"/>
          <a:stretch/>
        </p:blipFill>
        <p:spPr>
          <a:xfrm>
            <a:off x="11628094" y="95367"/>
            <a:ext cx="473977" cy="512415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Google Shape;27;p7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94190" y="5593008"/>
            <a:ext cx="1558638" cy="5726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oldener Schnitt rechts">
  <p:cSld name="Goldener Schnitt recht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6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046">
          <p15:clr>
            <a:srgbClr val="FBAE40"/>
          </p15:clr>
        </p15:guide>
        <p15:guide id="2" pos="293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oldener Schnitt links">
  <p:cSld name="Goldener Schnitt links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7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747">
          <p15:clr>
            <a:srgbClr val="FBAE40"/>
          </p15:clr>
        </p15:guide>
        <p15:guide id="2" pos="463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oldener Schnitt oben">
  <p:cSld name="Goldener Schnitt oben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8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4">
          <p15:clr>
            <a:srgbClr val="FBAE40"/>
          </p15:clr>
        </p15:guide>
        <p15:guide id="2" orient="horz" pos="281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oldener Schnitt unten">
  <p:cSld name="Goldener Schnitt unten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9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56">
          <p15:clr>
            <a:srgbClr val="FBAE40"/>
          </p15:clr>
        </p15:guide>
        <p15:guide id="2" orient="horz" pos="20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Spalten">
  <p:cSld name="4 Spalten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0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717">
          <p15:clr>
            <a:srgbClr val="FBAE40"/>
          </p15:clr>
        </p15:guide>
        <p15:guide id="2" pos="4626">
          <p15:clr>
            <a:srgbClr val="FBAE40"/>
          </p15:clr>
        </p15:guide>
        <p15:guide id="3" orient="horz" pos="2319">
          <p15:clr>
            <a:srgbClr val="FBAE40"/>
          </p15:clr>
        </p15:guide>
        <p15:guide id="4" orient="horz" pos="2228">
          <p15:clr>
            <a:srgbClr val="FBAE40"/>
          </p15:clr>
        </p15:guide>
        <p15:guide id="5" pos="529">
          <p15:clr>
            <a:srgbClr val="FBAE40"/>
          </p15:clr>
        </p15:guide>
        <p15:guide id="6" pos="1633">
          <p15:clr>
            <a:srgbClr val="FBAE40"/>
          </p15:clr>
        </p15:guide>
        <p15:guide id="7" pos="3084">
          <p15:clr>
            <a:srgbClr val="FBAE40"/>
          </p15:clr>
        </p15:guide>
        <p15:guide id="8" pos="31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slide 1 DE">
  <p:cSld name="Endslide 1 DE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Google Shape;89;p21" descr="Ein Bild, das Boden, Weg, mehrere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 t="8353" r="2748" b="5313"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49803"/>
            </a:srgbClr>
          </a:solidFill>
          <a:ln>
            <a:noFill/>
          </a:ln>
        </p:spPr>
      </p:pic>
      <p:sp>
        <p:nvSpPr>
          <p:cNvPr id="90" name="Google Shape;90;p21"/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1" name="Google Shape;91;p21" descr="Ein Bild, das Text, ClipArt enthält.&#10;&#10;Automatisch generierte Beschreibu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91394" y="95367"/>
            <a:ext cx="1394588" cy="512415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92;p21"/>
          <p:cNvSpPr txBox="1"/>
          <p:nvPr/>
        </p:nvSpPr>
        <p:spPr>
          <a:xfrm>
            <a:off x="2199084" y="2535550"/>
            <a:ext cx="7793832" cy="1237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marL="7200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6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„Wir wollen nicht nur überzeugen,</a:t>
            </a:r>
            <a:endParaRPr/>
          </a:p>
          <a:p>
            <a:pPr marL="7200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r>
              <a:rPr lang="de-DE" sz="36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ndern unsere Kunden begeistern“</a:t>
            </a:r>
            <a:endParaRPr/>
          </a:p>
        </p:txBody>
      </p:sp>
      <p:sp>
        <p:nvSpPr>
          <p:cNvPr id="93" name="Google Shape;93;p21"/>
          <p:cNvSpPr txBox="1"/>
          <p:nvPr/>
        </p:nvSpPr>
        <p:spPr>
          <a:xfrm>
            <a:off x="334963" y="6308725"/>
            <a:ext cx="11522074" cy="365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7200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uks e.V. | Waldhornstraße 27 | 76131 Karlsruhe | Tel. 0721 / 3842313 | kontakt@fuks.org | www.fuks.org  </a:t>
            </a: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slide 1 EN">
  <p:cSld name="Endslide 1 EN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" name="Google Shape;95;p22" descr="Ein Bild, das Boden, Weg, mehrere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 t="8353" r="2748" b="5313"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49803"/>
            </a:srgbClr>
          </a:solidFill>
          <a:ln>
            <a:noFill/>
          </a:ln>
        </p:spPr>
      </p:pic>
      <p:sp>
        <p:nvSpPr>
          <p:cNvPr id="96" name="Google Shape;96;p22"/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" name="Google Shape;97;p22" descr="Ein Bild, das Text, ClipArt enthält.&#10;&#10;Automatisch generierte Beschreibu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91394" y="95367"/>
            <a:ext cx="1394588" cy="512415"/>
          </a:xfrm>
          <a:prstGeom prst="rect">
            <a:avLst/>
          </a:prstGeom>
          <a:noFill/>
          <a:ln>
            <a:noFill/>
          </a:ln>
        </p:spPr>
      </p:pic>
      <p:sp>
        <p:nvSpPr>
          <p:cNvPr id="98" name="Google Shape;98;p22"/>
          <p:cNvSpPr txBox="1"/>
          <p:nvPr/>
        </p:nvSpPr>
        <p:spPr>
          <a:xfrm>
            <a:off x="2199084" y="2535550"/>
            <a:ext cx="7793832" cy="1237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marL="7200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6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„We do not just want to satisfy our customers, we want to delight them“</a:t>
            </a:r>
            <a:endParaRPr/>
          </a:p>
        </p:txBody>
      </p:sp>
      <p:sp>
        <p:nvSpPr>
          <p:cNvPr id="99" name="Google Shape;99;p22"/>
          <p:cNvSpPr txBox="1"/>
          <p:nvPr/>
        </p:nvSpPr>
        <p:spPr>
          <a:xfrm>
            <a:off x="334963" y="6308725"/>
            <a:ext cx="11522074" cy="365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7200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uks e.V. | Waldhornstraße 27 | 76131 Karlsruhe | Tel. 0721 / 3842313 | kontakt@fuks.org | www.fuks.org  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slide 2 DE">
  <p:cSld name="Endslide 2 DE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Google Shape;101;p23" descr="Ein Bild, das Baum, draußen, Boden, Gras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 t="15625"/>
          <a:stretch/>
        </p:blipFill>
        <p:spPr>
          <a:xfrm>
            <a:off x="-1" y="0"/>
            <a:ext cx="12191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23"/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23"/>
          <p:cNvSpPr txBox="1"/>
          <p:nvPr/>
        </p:nvSpPr>
        <p:spPr>
          <a:xfrm>
            <a:off x="2199084" y="2535550"/>
            <a:ext cx="7793832" cy="1237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marL="7200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6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„Wir wollen nicht nur überzeugen,</a:t>
            </a:r>
            <a:endParaRPr/>
          </a:p>
          <a:p>
            <a:pPr marL="72000" marR="0" lvl="0" indent="0" algn="l" rtl="0">
              <a:spcBef>
                <a:spcPts val="400"/>
              </a:spcBef>
              <a:spcAft>
                <a:spcPts val="0"/>
              </a:spcAft>
              <a:buNone/>
            </a:pPr>
            <a:r>
              <a:rPr lang="de-DE" sz="36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ndern unsere Kunden begeistern“</a:t>
            </a:r>
            <a:endParaRPr/>
          </a:p>
        </p:txBody>
      </p:sp>
      <p:pic>
        <p:nvPicPr>
          <p:cNvPr id="104" name="Google Shape;104;p23" descr="Ein Bild, das Text, ClipArt enthält.&#10;&#10;Automatisch generierte Beschreibu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91394" y="95367"/>
            <a:ext cx="1394588" cy="512415"/>
          </a:xfrm>
          <a:prstGeom prst="rect">
            <a:avLst/>
          </a:prstGeom>
          <a:noFill/>
          <a:ln>
            <a:noFill/>
          </a:ln>
        </p:spPr>
      </p:pic>
      <p:sp>
        <p:nvSpPr>
          <p:cNvPr id="105" name="Google Shape;105;p23"/>
          <p:cNvSpPr txBox="1"/>
          <p:nvPr/>
        </p:nvSpPr>
        <p:spPr>
          <a:xfrm>
            <a:off x="334963" y="6308725"/>
            <a:ext cx="11522074" cy="365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7200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uks e.V. | Waldhornstraße 27 | 76131 Karlsruhe | Tel. 0721 / 3842313 | kontakt@fuks.org | www.fuks.org  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slide 2 EN">
  <p:cSld name="Endslide 2 EN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Google Shape;107;p24" descr="Ein Bild, das Baum, draußen, Boden, Gras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 t="15625"/>
          <a:stretch/>
        </p:blipFill>
        <p:spPr>
          <a:xfrm>
            <a:off x="-1" y="0"/>
            <a:ext cx="12191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24"/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24"/>
          <p:cNvSpPr txBox="1"/>
          <p:nvPr/>
        </p:nvSpPr>
        <p:spPr>
          <a:xfrm>
            <a:off x="334963" y="6308725"/>
            <a:ext cx="11522074" cy="365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7200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uks e.V. | Waldhornstraße 27 | 76131 Karlsruhe | Tel. 0721 / 3842313 | kontakt@fuks.org | www.fuks.org  </a:t>
            </a:r>
            <a:endParaRPr/>
          </a:p>
        </p:txBody>
      </p:sp>
      <p:pic>
        <p:nvPicPr>
          <p:cNvPr id="110" name="Google Shape;110;p24" descr="Ein Bild, das Text, ClipArt enthält.&#10;&#10;Automatisch generierte Beschreibu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91394" y="95367"/>
            <a:ext cx="1394588" cy="512415"/>
          </a:xfrm>
          <a:prstGeom prst="rect">
            <a:avLst/>
          </a:prstGeom>
          <a:noFill/>
          <a:ln>
            <a:noFill/>
          </a:ln>
        </p:spPr>
      </p:pic>
      <p:sp>
        <p:nvSpPr>
          <p:cNvPr id="111" name="Google Shape;111;p24"/>
          <p:cNvSpPr txBox="1"/>
          <p:nvPr/>
        </p:nvSpPr>
        <p:spPr>
          <a:xfrm>
            <a:off x="2199084" y="2535550"/>
            <a:ext cx="7793832" cy="1237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marL="7200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6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„We do not just want to satisfy our customers, we want to delight them“</a:t>
            </a: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genda">
  <p:cSld name="Agenda">
    <p:bg>
      <p:bgPr>
        <a:solidFill>
          <a:srgbClr val="FFFFFF"/>
        </a:solid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oogle Shape;29;p8" descr="Ein Bild, das Text, Person, computer, drinnen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 l="63843" t="9900" b="5725"/>
          <a:stretch/>
        </p:blipFill>
        <p:spPr>
          <a:xfrm>
            <a:off x="7783712" y="0"/>
            <a:ext cx="4408289" cy="6858000"/>
          </a:xfrm>
          <a:custGeom>
            <a:avLst/>
            <a:gdLst/>
            <a:ahLst/>
            <a:cxnLst/>
            <a:rect l="l" t="t" r="r" b="b"/>
            <a:pathLst>
              <a:path w="4408289" h="6858000" extrusionOk="0">
                <a:moveTo>
                  <a:pt x="2496108" y="0"/>
                </a:moveTo>
                <a:lnTo>
                  <a:pt x="4408289" y="0"/>
                </a:lnTo>
                <a:lnTo>
                  <a:pt x="4408289" y="5113669"/>
                </a:lnTo>
                <a:lnTo>
                  <a:pt x="3773404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30" name="Google Shape;30;p8"/>
          <p:cNvSpPr/>
          <p:nvPr/>
        </p:nvSpPr>
        <p:spPr>
          <a:xfrm>
            <a:off x="7783713" y="5080"/>
            <a:ext cx="4408289" cy="6858000"/>
          </a:xfrm>
          <a:custGeom>
            <a:avLst/>
            <a:gdLst/>
            <a:ahLst/>
            <a:cxnLst/>
            <a:rect l="l" t="t" r="r" b="b"/>
            <a:pathLst>
              <a:path w="4408289" h="6858000" extrusionOk="0">
                <a:moveTo>
                  <a:pt x="2496108" y="0"/>
                </a:moveTo>
                <a:lnTo>
                  <a:pt x="4408289" y="0"/>
                </a:lnTo>
                <a:lnTo>
                  <a:pt x="4408289" y="5113669"/>
                </a:lnTo>
                <a:lnTo>
                  <a:pt x="37734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49803"/>
            </a:schemeClr>
          </a:solidFill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8"/>
          <p:cNvSpPr/>
          <p:nvPr/>
        </p:nvSpPr>
        <p:spPr>
          <a:xfrm>
            <a:off x="-9988" y="6357"/>
            <a:ext cx="9649289" cy="714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rgbClr val="A2A2A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32;p8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3" name="Google Shape;33;p8"/>
          <p:cNvCxnSpPr/>
          <p:nvPr/>
        </p:nvCxnSpPr>
        <p:spPr>
          <a:xfrm>
            <a:off x="334963" y="353864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4" name="Google Shape;34;p8"/>
          <p:cNvPicPr preferRelativeResize="0"/>
          <p:nvPr/>
        </p:nvPicPr>
        <p:blipFill rotWithShape="1">
          <a:blip r:embed="rId3">
            <a:alphaModFix/>
          </a:blip>
          <a:srcRect l="67167"/>
          <a:stretch/>
        </p:blipFill>
        <p:spPr>
          <a:xfrm>
            <a:off x="11628094" y="95367"/>
            <a:ext cx="457888" cy="51241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undlayout Mit Inhaltsvorlage">
  <p:cSld name="Grundlayout Mit Inhaltsvorlage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body" idx="1"/>
          </p:nvPr>
        </p:nvSpPr>
        <p:spPr>
          <a:xfrm>
            <a:off x="346075" y="1268413"/>
            <a:ext cx="11510963" cy="5040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1pPr>
            <a:lvl2pPr marL="914400" lvl="1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SzPts val="1800"/>
              <a:buChar char="4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SzPts val="1800"/>
              <a:buChar char="4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 Slide 1">
  <p:cSld name="Titel Slide 1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10"/>
          <p:cNvPicPr preferRelativeResize="0"/>
          <p:nvPr/>
        </p:nvPicPr>
        <p:blipFill rotWithShape="1">
          <a:blip r:embed="rId2">
            <a:alphaModFix/>
          </a:blip>
          <a:srcRect r="15306"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10"/>
          <p:cNvSpPr/>
          <p:nvPr/>
        </p:nvSpPr>
        <p:spPr>
          <a:xfrm>
            <a:off x="0" y="-1"/>
            <a:ext cx="7843372" cy="6858001"/>
          </a:xfrm>
          <a:custGeom>
            <a:avLst/>
            <a:gdLst/>
            <a:ahLst/>
            <a:cxnLst/>
            <a:rect l="l" t="t" r="r" b="b"/>
            <a:pathLst>
              <a:path w="7843372" h="6838731" extrusionOk="0">
                <a:moveTo>
                  <a:pt x="0" y="0"/>
                </a:moveTo>
                <a:lnTo>
                  <a:pt x="5354401" y="0"/>
                </a:lnTo>
                <a:lnTo>
                  <a:pt x="5359200" y="13186"/>
                </a:lnTo>
                <a:lnTo>
                  <a:pt x="5359200" y="13529"/>
                </a:lnTo>
                <a:lnTo>
                  <a:pt x="7843372" y="6838731"/>
                </a:lnTo>
                <a:lnTo>
                  <a:pt x="0" y="6838731"/>
                </a:lnTo>
                <a:close/>
              </a:path>
            </a:pathLst>
          </a:custGeom>
          <a:solidFill>
            <a:srgbClr val="FF6400">
              <a:alpha val="69803"/>
            </a:srgbClr>
          </a:solidFill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41;p10"/>
          <p:cNvSpPr txBox="1"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0"/>
          <p:cNvSpPr txBox="1"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spcBef>
                <a:spcPts val="2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2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spcBef>
                <a:spcPts val="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spcBef>
                <a:spcPts val="32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spcBef>
                <a:spcPts val="32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6pPr>
            <a:lvl7pPr lvl="6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7pPr>
            <a:lvl8pPr lvl="7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8pPr>
            <a:lvl9pPr lvl="8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9pPr>
          </a:lstStyle>
          <a:p>
            <a:endParaRPr/>
          </a:p>
        </p:txBody>
      </p:sp>
      <p:sp>
        <p:nvSpPr>
          <p:cNvPr id="43" name="Google Shape;43;p10"/>
          <p:cNvSpPr/>
          <p:nvPr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4" name="Google Shape;44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91394" y="95367"/>
            <a:ext cx="1394588" cy="512415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10"/>
          <p:cNvSpPr txBox="1">
            <a:spLocks noGrp="1"/>
          </p:cNvSpPr>
          <p:nvPr>
            <p:ph type="ftr" idx="11"/>
          </p:nvPr>
        </p:nvSpPr>
        <p:spPr>
          <a:xfrm>
            <a:off x="8242433" y="6218642"/>
            <a:ext cx="3562949" cy="273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 Slide 3">
  <p:cSld name="Titel Slide 3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11" descr="Ein Bild, das Text, Person, computer, drinnen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 t="9900" b="572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11"/>
          <p:cNvSpPr/>
          <p:nvPr/>
        </p:nvSpPr>
        <p:spPr>
          <a:xfrm>
            <a:off x="1" y="0"/>
            <a:ext cx="8438415" cy="6858000"/>
          </a:xfrm>
          <a:custGeom>
            <a:avLst/>
            <a:gdLst/>
            <a:ahLst/>
            <a:cxnLst/>
            <a:rect l="l" t="t" r="r" b="b"/>
            <a:pathLst>
              <a:path w="8438415" h="6858000" extrusionOk="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11"/>
          <p:cNvSpPr txBox="1"/>
          <p:nvPr/>
        </p:nvSpPr>
        <p:spPr>
          <a:xfrm>
            <a:off x="5330190" y="122578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252000" marR="0" lvl="0" indent="-91100" algn="l" rtl="0">
              <a:spcBef>
                <a:spcPts val="0"/>
              </a:spcBef>
              <a:spcAft>
                <a:spcPts val="0"/>
              </a:spcAft>
              <a:buClr>
                <a:srgbClr val="FE6400"/>
              </a:buClr>
              <a:buSzPts val="1400"/>
              <a:buFont typeface="Noto Sans Symbols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11"/>
          <p:cNvSpPr txBox="1"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1"/>
          <p:cNvSpPr txBox="1"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spcBef>
                <a:spcPts val="200"/>
              </a:spcBef>
              <a:spcAft>
                <a:spcPts val="0"/>
              </a:spcAft>
              <a:buSzPts val="2400"/>
              <a:buNone/>
              <a:defRPr sz="2400">
                <a:solidFill>
                  <a:srgbClr val="D7D7D7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2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spcBef>
                <a:spcPts val="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spcBef>
                <a:spcPts val="32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spcBef>
                <a:spcPts val="32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6pPr>
            <a:lvl7pPr lvl="6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7pPr>
            <a:lvl8pPr lvl="7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8pPr>
            <a:lvl9pPr lvl="8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9pPr>
          </a:lstStyle>
          <a:p>
            <a:endParaRPr/>
          </a:p>
        </p:txBody>
      </p:sp>
      <p:sp>
        <p:nvSpPr>
          <p:cNvPr id="52" name="Google Shape;52;p11"/>
          <p:cNvSpPr/>
          <p:nvPr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53;p11"/>
          <p:cNvSpPr txBox="1">
            <a:spLocks noGrp="1"/>
          </p:cNvSpPr>
          <p:nvPr>
            <p:ph type="ftr" idx="11"/>
          </p:nvPr>
        </p:nvSpPr>
        <p:spPr>
          <a:xfrm>
            <a:off x="7022184" y="6355495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38383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p11"/>
          <p:cNvSpPr>
            <a:spLocks noGrp="1"/>
          </p:cNvSpPr>
          <p:nvPr>
            <p:ph type="pic" idx="2"/>
          </p:nvPr>
        </p:nvSpPr>
        <p:spPr>
          <a:xfrm>
            <a:off x="2158398" y="5065713"/>
            <a:ext cx="1558638" cy="1243012"/>
          </a:xfrm>
          <a:prstGeom prst="rect">
            <a:avLst/>
          </a:prstGeom>
          <a:noFill/>
          <a:ln>
            <a:noFill/>
          </a:ln>
        </p:spPr>
      </p:sp>
      <p:pic>
        <p:nvPicPr>
          <p:cNvPr id="55" name="Google Shape;55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4190" y="5593008"/>
            <a:ext cx="1558638" cy="572692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56;p11"/>
          <p:cNvPicPr preferRelativeResize="0"/>
          <p:nvPr/>
        </p:nvPicPr>
        <p:blipFill rotWithShape="1">
          <a:blip r:embed="rId4">
            <a:alphaModFix/>
          </a:blip>
          <a:srcRect l="67167"/>
          <a:stretch/>
        </p:blipFill>
        <p:spPr>
          <a:xfrm>
            <a:off x="11628094" y="95367"/>
            <a:ext cx="457888" cy="51241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 Slide 5">
  <p:cSld name="Titel Slide 5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oogle Shape;58;p12" descr="Ein Bild, das Text, Person, computer, drinnen enthält.&#10;&#10;Automatisch generierte Beschreibung"/>
          <p:cNvPicPr preferRelativeResize="0"/>
          <p:nvPr/>
        </p:nvPicPr>
        <p:blipFill rotWithShape="1">
          <a:blip r:embed="rId2">
            <a:alphaModFix/>
          </a:blip>
          <a:srcRect t="9900" b="572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59;p12"/>
          <p:cNvSpPr/>
          <p:nvPr/>
        </p:nvSpPr>
        <p:spPr>
          <a:xfrm>
            <a:off x="1" y="0"/>
            <a:ext cx="8641491" cy="6858000"/>
          </a:xfrm>
          <a:custGeom>
            <a:avLst/>
            <a:gdLst/>
            <a:ahLst/>
            <a:cxnLst/>
            <a:rect l="l" t="t" r="r" b="b"/>
            <a:pathLst>
              <a:path w="8641491" h="6858000" extrusionOk="0">
                <a:moveTo>
                  <a:pt x="0" y="0"/>
                </a:moveTo>
                <a:lnTo>
                  <a:pt x="6145383" y="0"/>
                </a:lnTo>
                <a:lnTo>
                  <a:pt x="864149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49803"/>
            </a:schemeClr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12"/>
          <p:cNvSpPr/>
          <p:nvPr/>
        </p:nvSpPr>
        <p:spPr>
          <a:xfrm>
            <a:off x="6138833" y="0"/>
            <a:ext cx="6053166" cy="6858000"/>
          </a:xfrm>
          <a:custGeom>
            <a:avLst/>
            <a:gdLst/>
            <a:ahLst/>
            <a:cxnLst/>
            <a:rect l="l" t="t" r="r" b="b"/>
            <a:pathLst>
              <a:path w="6053166" h="6858000" extrusionOk="0">
                <a:moveTo>
                  <a:pt x="0" y="0"/>
                </a:moveTo>
                <a:lnTo>
                  <a:pt x="6053166" y="0"/>
                </a:lnTo>
                <a:lnTo>
                  <a:pt x="6053166" y="6858000"/>
                </a:lnTo>
                <a:lnTo>
                  <a:pt x="2496107" y="6858000"/>
                </a:lnTo>
                <a:close/>
              </a:path>
            </a:pathLst>
          </a:custGeom>
          <a:solidFill>
            <a:schemeClr val="lt1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12"/>
          <p:cNvSpPr txBox="1"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2"/>
          <p:cNvSpPr txBox="1"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spcBef>
                <a:spcPts val="200"/>
              </a:spcBef>
              <a:spcAft>
                <a:spcPts val="0"/>
              </a:spcAft>
              <a:buSzPts val="2400"/>
              <a:buNone/>
              <a:defRPr sz="2400">
                <a:solidFill>
                  <a:srgbClr val="D7D7D7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2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spcBef>
                <a:spcPts val="2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spcBef>
                <a:spcPts val="32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spcBef>
                <a:spcPts val="32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6pPr>
            <a:lvl7pPr lvl="6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7pPr>
            <a:lvl8pPr lvl="7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8pPr>
            <a:lvl9pPr lvl="8" algn="ctr">
              <a:spcBef>
                <a:spcPts val="32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9pPr>
          </a:lstStyle>
          <a:p>
            <a:endParaRPr/>
          </a:p>
        </p:txBody>
      </p:sp>
      <p:sp>
        <p:nvSpPr>
          <p:cNvPr id="63" name="Google Shape;63;p12"/>
          <p:cNvSpPr/>
          <p:nvPr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64;p12"/>
          <p:cNvSpPr txBox="1">
            <a:spLocks noGrp="1"/>
          </p:cNvSpPr>
          <p:nvPr>
            <p:ph type="ftr" idx="11"/>
          </p:nvPr>
        </p:nvSpPr>
        <p:spPr>
          <a:xfrm>
            <a:off x="8641492" y="6218642"/>
            <a:ext cx="3562949" cy="273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65" name="Google Shape;65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84090" y="619939"/>
            <a:ext cx="1558638" cy="572692"/>
          </a:xfrm>
          <a:prstGeom prst="rect">
            <a:avLst/>
          </a:prstGeom>
          <a:noFill/>
          <a:ln>
            <a:noFill/>
          </a:ln>
        </p:spPr>
      </p:pic>
      <p:sp>
        <p:nvSpPr>
          <p:cNvPr id="66" name="Google Shape;66;p12"/>
          <p:cNvSpPr>
            <a:spLocks noGrp="1"/>
          </p:cNvSpPr>
          <p:nvPr>
            <p:ph type="pic" idx="2"/>
          </p:nvPr>
        </p:nvSpPr>
        <p:spPr>
          <a:xfrm>
            <a:off x="10248298" y="284779"/>
            <a:ext cx="1558638" cy="1243012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undlayout Ohne Inhaltsvorlage">
  <p:cSld name="Grundlayout Ohne Inhaltsvorlage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3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undlayout mit So-What Box">
  <p:cSld name="Grundlayout mit So-What Box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4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4"/>
          <p:cNvSpPr/>
          <p:nvPr/>
        </p:nvSpPr>
        <p:spPr>
          <a:xfrm>
            <a:off x="334963" y="5769649"/>
            <a:ext cx="11522075" cy="54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358775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72;p14"/>
          <p:cNvSpPr/>
          <p:nvPr/>
        </p:nvSpPr>
        <p:spPr>
          <a:xfrm rot="8100000">
            <a:off x="453426" y="5944569"/>
            <a:ext cx="180001" cy="180001"/>
          </a:xfrm>
          <a:custGeom>
            <a:avLst/>
            <a:gdLst/>
            <a:ahLst/>
            <a:cxnLst/>
            <a:rect l="l" t="t" r="r" b="b"/>
            <a:pathLst>
              <a:path w="180001" h="180001" extrusionOk="0">
                <a:moveTo>
                  <a:pt x="1" y="180000"/>
                </a:moveTo>
                <a:lnTo>
                  <a:pt x="0" y="1"/>
                </a:lnTo>
                <a:lnTo>
                  <a:pt x="1" y="1"/>
                </a:lnTo>
                <a:lnTo>
                  <a:pt x="1" y="0"/>
                </a:lnTo>
                <a:lnTo>
                  <a:pt x="180001" y="0"/>
                </a:lnTo>
                <a:lnTo>
                  <a:pt x="180001" y="36000"/>
                </a:lnTo>
                <a:lnTo>
                  <a:pt x="36001" y="36000"/>
                </a:lnTo>
                <a:lnTo>
                  <a:pt x="36001" y="180001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73;p14"/>
          <p:cNvSpPr txBox="1">
            <a:spLocks noGrp="1"/>
          </p:cNvSpPr>
          <p:nvPr>
            <p:ph type="body" idx="1"/>
          </p:nvPr>
        </p:nvSpPr>
        <p:spPr>
          <a:xfrm>
            <a:off x="785813" y="5769649"/>
            <a:ext cx="11071225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rmAutofit/>
          </a:bodyPr>
          <a:lstStyle>
            <a:lvl1pPr marL="457200" lvl="0" indent="-228600" algn="l">
              <a:spcBef>
                <a:spcPts val="20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marL="914400" lvl="1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SzPts val="1800"/>
              <a:buChar char="4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SzPts val="1800"/>
              <a:buChar char="4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3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wei Inhalte">
  <p:cSld name="Zwei Inhalt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5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body" idx="1"/>
          </p:nvPr>
        </p:nvSpPr>
        <p:spPr>
          <a:xfrm>
            <a:off x="334963" y="1268413"/>
            <a:ext cx="5689600" cy="5040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1pPr>
            <a:lvl2pPr marL="914400" lvl="1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SzPts val="1800"/>
              <a:buChar char="4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SzPts val="1800"/>
              <a:buChar char="4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body" idx="2"/>
          </p:nvPr>
        </p:nvSpPr>
        <p:spPr>
          <a:xfrm>
            <a:off x="6167439" y="1268413"/>
            <a:ext cx="5689600" cy="5040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1pPr>
            <a:lvl2pPr marL="914400" lvl="1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342900" algn="l">
              <a:spcBef>
                <a:spcPts val="200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SzPts val="1800"/>
              <a:buChar char="4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SzPts val="1800"/>
              <a:buChar char="4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6"/>
          <p:cNvSpPr/>
          <p:nvPr/>
        </p:nvSpPr>
        <p:spPr>
          <a:xfrm>
            <a:off x="-9988" y="6357"/>
            <a:ext cx="9649289" cy="714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rgbClr val="A2A2A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p6"/>
          <p:cNvSpPr txBox="1"/>
          <p:nvPr/>
        </p:nvSpPr>
        <p:spPr>
          <a:xfrm>
            <a:off x="11521440" y="6535777"/>
            <a:ext cx="315278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95250" marR="0" lvl="0" indent="-7938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Noto Sans Symbols"/>
              <a:buNone/>
            </a:pPr>
            <a:fld id="{00000000-1234-1234-1234-123412341234}" type="slidenum">
              <a:rPr lang="de-DE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6"/>
          <p:cNvSpPr/>
          <p:nvPr/>
        </p:nvSpPr>
        <p:spPr>
          <a:xfrm>
            <a:off x="10790647" y="6321866"/>
            <a:ext cx="751113" cy="337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Noto Sans Symbols"/>
              <a:buNone/>
            </a:pPr>
            <a:r>
              <a:rPr lang="de-DE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ww.fuks.org</a:t>
            </a:r>
            <a:endParaRPr/>
          </a:p>
        </p:txBody>
      </p:sp>
      <p:sp>
        <p:nvSpPr>
          <p:cNvPr id="13" name="Google Shape;13;p6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14" name="Google Shape;14;p6"/>
          <p:cNvCxnSpPr/>
          <p:nvPr/>
        </p:nvCxnSpPr>
        <p:spPr>
          <a:xfrm>
            <a:off x="334963" y="353864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" name="Google Shape;15;p6"/>
          <p:cNvSpPr/>
          <p:nvPr/>
        </p:nvSpPr>
        <p:spPr>
          <a:xfrm>
            <a:off x="11112000" y="0"/>
            <a:ext cx="1080000" cy="216000"/>
          </a:xfrm>
          <a:prstGeom prst="rect">
            <a:avLst/>
          </a:prstGeom>
          <a:solidFill>
            <a:srgbClr val="FBDED2"/>
          </a:solidFill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6"/>
          <p:cNvSpPr/>
          <p:nvPr/>
        </p:nvSpPr>
        <p:spPr>
          <a:xfrm rot="5400000">
            <a:off x="11544000" y="432000"/>
            <a:ext cx="1080000" cy="216000"/>
          </a:xfrm>
          <a:prstGeom prst="rect">
            <a:avLst/>
          </a:prstGeom>
          <a:solidFill>
            <a:srgbClr val="FBDED2"/>
          </a:solidFill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7;p6"/>
          <p:cNvSpPr txBox="1">
            <a:spLocks noGrp="1"/>
          </p:cNvSpPr>
          <p:nvPr>
            <p:ph type="body" idx="1"/>
          </p:nvPr>
        </p:nvSpPr>
        <p:spPr>
          <a:xfrm>
            <a:off x="346537" y="1268413"/>
            <a:ext cx="11510501" cy="5040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17500" algn="l" rtl="0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4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mo"/>
              <a:buChar char="4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spcBef>
                <a:spcPts val="360"/>
              </a:spcBef>
              <a:spcAft>
                <a:spcPts val="0"/>
              </a:spcAft>
              <a:buClr>
                <a:srgbClr val="FE64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spcBef>
                <a:spcPts val="360"/>
              </a:spcBef>
              <a:spcAft>
                <a:spcPts val="0"/>
              </a:spcAft>
              <a:buClr>
                <a:srgbClr val="FE64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spcBef>
                <a:spcPts val="360"/>
              </a:spcBef>
              <a:spcAft>
                <a:spcPts val="0"/>
              </a:spcAft>
              <a:buClr>
                <a:srgbClr val="FE64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spcBef>
                <a:spcPts val="360"/>
              </a:spcBef>
              <a:spcAft>
                <a:spcPts val="0"/>
              </a:spcAft>
              <a:buClr>
                <a:srgbClr val="FE64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799">
          <p15:clr>
            <a:srgbClr val="F26B43"/>
          </p15:clr>
        </p15:guide>
        <p15:guide id="4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2.svg"/><Relationship Id="rId1" Type="http://schemas.openxmlformats.org/officeDocument/2006/relationships/tags" Target="../tags/tag1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svg"/><Relationship Id="rId4" Type="http://schemas.openxmlformats.org/officeDocument/2006/relationships/image" Target="../media/image10.emf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1"/>
          <p:cNvSpPr txBox="1"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400"/>
              <a:t>Leere Präsentation</a:t>
            </a:r>
            <a:endParaRPr/>
          </a:p>
        </p:txBody>
      </p:sp>
      <p:sp>
        <p:nvSpPr>
          <p:cNvPr id="117" name="Google Shape;117;p1"/>
          <p:cNvSpPr txBox="1"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de-DE">
                <a:solidFill>
                  <a:schemeClr val="dk2"/>
                </a:solidFill>
              </a:rPr>
              <a:t>Version 4.0</a:t>
            </a:r>
            <a:endParaRPr/>
          </a:p>
          <a:p>
            <a:pPr marL="0" lvl="0" indent="0" algn="l" rtl="0">
              <a:spcBef>
                <a:spcPts val="40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sp>
        <p:nvSpPr>
          <p:cNvPr id="118" name="Google Shape;118;p1"/>
          <p:cNvSpPr txBox="1">
            <a:spLocks noGrp="1"/>
          </p:cNvSpPr>
          <p:nvPr>
            <p:ph type="ftr" idx="11"/>
          </p:nvPr>
        </p:nvSpPr>
        <p:spPr>
          <a:xfrm>
            <a:off x="7022184" y="6355495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/>
              <a:t>fuks e.V. Karlsruhe 2022</a:t>
            </a:r>
            <a:br>
              <a:rPr lang="de-DE"/>
            </a:br>
            <a:r>
              <a:rPr lang="de-DE"/>
              <a:t>Dieses Dokument ist nur für den direkten Empfänger bestimmt und ohne Erläuterungen durch einen unserer Berater nur bedingt aussagefähig!</a:t>
            </a:r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2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/>
              <a:t>Agenda</a:t>
            </a:r>
            <a:endParaRPr/>
          </a:p>
        </p:txBody>
      </p:sp>
      <p:sp>
        <p:nvSpPr>
          <p:cNvPr id="124" name="Google Shape;124;p2"/>
          <p:cNvSpPr/>
          <p:nvPr/>
        </p:nvSpPr>
        <p:spPr>
          <a:xfrm>
            <a:off x="334963" y="2535238"/>
            <a:ext cx="7818438" cy="1406525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1600" tIns="550850" rIns="0" bIns="5508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1 | Agendapunkt 1</a:t>
            </a:r>
            <a:endParaRPr sz="2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2">
            <a:hlinkClick r:id="rId3" action="ppaction://hlinksldjump"/>
          </p:cNvPr>
          <p:cNvSpPr/>
          <p:nvPr/>
        </p:nvSpPr>
        <p:spPr>
          <a:xfrm>
            <a:off x="334963" y="3941763"/>
            <a:ext cx="7818438" cy="1406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600" tIns="550850" rIns="0" bIns="5508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2 | Agendapunkt 2</a:t>
            </a: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3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3"/>
          <p:cNvSpPr txBox="1">
            <a:spLocks noGrp="1"/>
          </p:cNvSpPr>
          <p:nvPr>
            <p:ph type="body" idx="1"/>
          </p:nvPr>
        </p:nvSpPr>
        <p:spPr>
          <a:xfrm>
            <a:off x="346075" y="1268413"/>
            <a:ext cx="11510963" cy="5040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52000" lvl="0" indent="-91100" algn="l" rtl="0"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4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/>
              <a:t>Agenda</a:t>
            </a:r>
            <a:endParaRPr/>
          </a:p>
        </p:txBody>
      </p:sp>
      <p:sp>
        <p:nvSpPr>
          <p:cNvPr id="137" name="Google Shape;137;p4">
            <a:hlinkClick r:id="rId3" action="ppaction://hlinksldjump"/>
          </p:cNvPr>
          <p:cNvSpPr/>
          <p:nvPr/>
        </p:nvSpPr>
        <p:spPr>
          <a:xfrm>
            <a:off x="334963" y="2535238"/>
            <a:ext cx="7818438" cy="1406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1600" tIns="550850" rIns="0" bIns="5508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1 | Agendapunkt 1</a:t>
            </a: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" name="Google Shape;138;p4"/>
          <p:cNvSpPr/>
          <p:nvPr/>
        </p:nvSpPr>
        <p:spPr>
          <a:xfrm>
            <a:off x="334963" y="3941763"/>
            <a:ext cx="7818438" cy="1406525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1600" tIns="550850" rIns="0" bIns="5508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2 | Agendapunkt 2</a:t>
            </a:r>
            <a:endParaRPr sz="2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5"/>
          <p:cNvSpPr txBox="1"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4" name="Google Shape;144;p5"/>
          <p:cNvSpPr txBox="1">
            <a:spLocks noGrp="1"/>
          </p:cNvSpPr>
          <p:nvPr>
            <p:ph type="body" idx="1"/>
          </p:nvPr>
        </p:nvSpPr>
        <p:spPr>
          <a:xfrm>
            <a:off x="346075" y="1268413"/>
            <a:ext cx="11510963" cy="5040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52000" lvl="0" indent="-91100" algn="l" rtl="0"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0639961D-1F3F-4075-B5C7-44149BBC8A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0639961D-1F3F-4075-B5C7-44149BBC8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931A894-A964-47FB-803A-006E5AF67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Verschiedene Arbeitspakete decken den gesamten Raum ab 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DE1A9269-B845-4F2F-8008-65F4AB786C1D}"/>
              </a:ext>
            </a:extLst>
          </p:cNvPr>
          <p:cNvSpPr/>
          <p:nvPr/>
        </p:nvSpPr>
        <p:spPr bwMode="auto">
          <a:xfrm>
            <a:off x="4476000" y="2165941"/>
            <a:ext cx="3240000" cy="3240000"/>
          </a:xfrm>
          <a:prstGeom prst="ellipse">
            <a:avLst/>
          </a:prstGeom>
          <a:noFill/>
          <a:ln w="762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582B5F1-3DE9-41EC-85FB-3D300D77C8E5}"/>
              </a:ext>
            </a:extLst>
          </p:cNvPr>
          <p:cNvSpPr/>
          <p:nvPr/>
        </p:nvSpPr>
        <p:spPr bwMode="auto">
          <a:xfrm>
            <a:off x="5244668" y="3488761"/>
            <a:ext cx="1702663" cy="59436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Teamprojekt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0C658143-1D84-46B7-A459-FF2EA5F69B7B}"/>
              </a:ext>
            </a:extLst>
          </p:cNvPr>
          <p:cNvSpPr/>
          <p:nvPr/>
        </p:nvSpPr>
        <p:spPr bwMode="auto">
          <a:xfrm>
            <a:off x="5019703" y="2191769"/>
            <a:ext cx="432000" cy="432000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A82332C2-AE3E-4E68-9961-3AC883F8052C}"/>
              </a:ext>
            </a:extLst>
          </p:cNvPr>
          <p:cNvSpPr/>
          <p:nvPr/>
        </p:nvSpPr>
        <p:spPr bwMode="auto">
          <a:xfrm>
            <a:off x="6740299" y="2191769"/>
            <a:ext cx="432000" cy="432000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AC6EF9D3-3DFA-4A05-A4D5-0056C4C956E3}"/>
              </a:ext>
            </a:extLst>
          </p:cNvPr>
          <p:cNvSpPr/>
          <p:nvPr/>
        </p:nvSpPr>
        <p:spPr bwMode="auto">
          <a:xfrm>
            <a:off x="5019703" y="4948113"/>
            <a:ext cx="432000" cy="432000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BDC8E68E-63CA-4049-B985-67E96DB5C083}"/>
              </a:ext>
            </a:extLst>
          </p:cNvPr>
          <p:cNvSpPr/>
          <p:nvPr/>
        </p:nvSpPr>
        <p:spPr bwMode="auto">
          <a:xfrm>
            <a:off x="6740299" y="4948113"/>
            <a:ext cx="432000" cy="432000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9C7E3693-EE8A-4354-A954-BBD2451C6CE2}"/>
              </a:ext>
            </a:extLst>
          </p:cNvPr>
          <p:cNvSpPr/>
          <p:nvPr/>
        </p:nvSpPr>
        <p:spPr bwMode="auto">
          <a:xfrm>
            <a:off x="4259999" y="3569941"/>
            <a:ext cx="432000" cy="432000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16662A1-D1D1-4BE8-B5EA-3201E01A8707}"/>
              </a:ext>
            </a:extLst>
          </p:cNvPr>
          <p:cNvSpPr/>
          <p:nvPr/>
        </p:nvSpPr>
        <p:spPr bwMode="auto">
          <a:xfrm>
            <a:off x="7500001" y="3569941"/>
            <a:ext cx="432000" cy="432000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BE648FA-E230-4D69-B97A-E484F09E9768}"/>
              </a:ext>
            </a:extLst>
          </p:cNvPr>
          <p:cNvSpPr/>
          <p:nvPr/>
        </p:nvSpPr>
        <p:spPr bwMode="auto">
          <a:xfrm>
            <a:off x="7613397" y="2029288"/>
            <a:ext cx="3932238" cy="75696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Erhebung von Messdaten</a:t>
            </a:r>
            <a:endParaRPr lang="de-DE" sz="1600" b="1" dirty="0"/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lang="de-DE" sz="1200" dirty="0"/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kumimoji="0" lang="de-DE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360363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tabLst/>
            </a:pPr>
            <a:endParaRPr kumimoji="0" lang="de-DE" sz="1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1161AE8-6993-4932-B318-D5A55737EE3B}"/>
              </a:ext>
            </a:extLst>
          </p:cNvPr>
          <p:cNvSpPr/>
          <p:nvPr/>
        </p:nvSpPr>
        <p:spPr bwMode="auto">
          <a:xfrm>
            <a:off x="613267" y="2029288"/>
            <a:ext cx="3932238" cy="75696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marL="360363" algn="r">
              <a:spcBef>
                <a:spcPct val="20000"/>
              </a:spcBef>
              <a:buClr>
                <a:schemeClr val="tx1"/>
              </a:buClr>
              <a:buSzPct val="100000"/>
            </a:pPr>
            <a:r>
              <a:rPr lang="de-DE" sz="1600" b="1" dirty="0"/>
              <a:t>Darstellung von Messdaten</a:t>
            </a:r>
          </a:p>
          <a:p>
            <a:pPr marL="360363" marR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tabLst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lang="de-DE" sz="1200" dirty="0"/>
          </a:p>
          <a:p>
            <a:pPr marL="360363" algn="r">
              <a:spcBef>
                <a:spcPct val="20000"/>
              </a:spcBef>
              <a:buClr>
                <a:schemeClr val="tx1"/>
              </a:buClr>
              <a:buSzPct val="100000"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kumimoji="0" lang="de-DE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360363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tabLst/>
            </a:pPr>
            <a:endParaRPr kumimoji="0" lang="de-DE" sz="1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C8AC2F6-F366-496A-9AB5-7079FA58C49B}"/>
              </a:ext>
            </a:extLst>
          </p:cNvPr>
          <p:cNvSpPr/>
          <p:nvPr/>
        </p:nvSpPr>
        <p:spPr bwMode="auto">
          <a:xfrm>
            <a:off x="7613397" y="4790887"/>
            <a:ext cx="3932238" cy="75696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Review und Dokumentation</a:t>
            </a:r>
            <a:endParaRPr lang="de-DE" sz="1600" b="1" dirty="0"/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lang="de-DE" sz="1200" dirty="0"/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kumimoji="0" lang="de-DE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360363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tabLst/>
            </a:pPr>
            <a:endParaRPr kumimoji="0" lang="de-DE" sz="1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7A4CD8C-89F5-4A04-AF6E-F7D0388413E6}"/>
              </a:ext>
            </a:extLst>
          </p:cNvPr>
          <p:cNvSpPr/>
          <p:nvPr/>
        </p:nvSpPr>
        <p:spPr bwMode="auto">
          <a:xfrm>
            <a:off x="613267" y="4790887"/>
            <a:ext cx="3932238" cy="75696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Korrelationsanalyse</a:t>
            </a:r>
          </a:p>
          <a:p>
            <a:pPr marL="360363" marR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tabLst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lang="de-DE" sz="1200" dirty="0"/>
          </a:p>
          <a:p>
            <a:pPr marL="360363" algn="r">
              <a:spcBef>
                <a:spcPct val="20000"/>
              </a:spcBef>
              <a:buClr>
                <a:schemeClr val="tx1"/>
              </a:buClr>
              <a:buSzPct val="100000"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kumimoji="0" lang="de-DE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360363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tabLst/>
            </a:pPr>
            <a:endParaRPr kumimoji="0" lang="de-DE" sz="1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62048F79-C77E-404A-BBF6-E634649B5D8B}"/>
              </a:ext>
            </a:extLst>
          </p:cNvPr>
          <p:cNvSpPr/>
          <p:nvPr/>
        </p:nvSpPr>
        <p:spPr bwMode="auto">
          <a:xfrm>
            <a:off x="334962" y="3407460"/>
            <a:ext cx="3372893" cy="75696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Geometrische Analyse von 3D Punktewolken</a:t>
            </a:r>
          </a:p>
          <a:p>
            <a:pPr marL="360363" marR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tabLst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lang="de-DE" sz="1200" dirty="0"/>
          </a:p>
          <a:p>
            <a:pPr marL="360363" algn="r">
              <a:spcBef>
                <a:spcPct val="20000"/>
              </a:spcBef>
              <a:buClr>
                <a:schemeClr val="tx1"/>
              </a:buClr>
              <a:buSzPct val="100000"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kumimoji="0" lang="de-DE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360363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tabLst/>
            </a:pPr>
            <a:endParaRPr kumimoji="0" lang="de-DE" sz="1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DB049CD-478E-4263-9A4C-7AD7CF2CCFA4}"/>
              </a:ext>
            </a:extLst>
          </p:cNvPr>
          <p:cNvSpPr/>
          <p:nvPr/>
        </p:nvSpPr>
        <p:spPr bwMode="auto">
          <a:xfrm>
            <a:off x="8484145" y="3407460"/>
            <a:ext cx="2965429" cy="75696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600" b="1" dirty="0"/>
              <a:t>Training KI Modell</a:t>
            </a: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lang="de-DE" sz="1200" dirty="0"/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200" dirty="0" err="1"/>
              <a:t>Lorem</a:t>
            </a:r>
            <a:r>
              <a:rPr lang="de-DE" sz="1200" dirty="0"/>
              <a:t> Ipsum </a:t>
            </a:r>
            <a:r>
              <a:rPr lang="de-DE" sz="1200" dirty="0" err="1"/>
              <a:t>dolor</a:t>
            </a:r>
            <a:r>
              <a:rPr lang="de-DE" sz="1200" dirty="0"/>
              <a:t> sic </a:t>
            </a:r>
            <a:r>
              <a:rPr lang="de-DE" sz="1200" dirty="0" err="1"/>
              <a:t>amet</a:t>
            </a:r>
            <a:endParaRPr kumimoji="0" lang="de-DE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360363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tabLst/>
            </a:pPr>
            <a:endParaRPr kumimoji="0" lang="de-DE" sz="1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20" name="Grafik 19" descr="Start mit einfarbiger Füllung">
            <a:extLst>
              <a:ext uri="{FF2B5EF4-FFF2-40B4-BE49-F238E27FC236}">
                <a16:creationId xmlns:a16="http://schemas.microsoft.com/office/drawing/2014/main" id="{9028FD87-4109-4C09-85A5-0414C0CA87D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55703" y="2227769"/>
            <a:ext cx="360000" cy="360000"/>
          </a:xfrm>
          <a:prstGeom prst="rect">
            <a:avLst/>
          </a:prstGeom>
        </p:spPr>
      </p:pic>
      <p:pic>
        <p:nvPicPr>
          <p:cNvPr id="22" name="Grafik 21" descr="Netzwerk mit einfarbiger Füllung">
            <a:extLst>
              <a:ext uri="{FF2B5EF4-FFF2-40B4-BE49-F238E27FC236}">
                <a16:creationId xmlns:a16="http://schemas.microsoft.com/office/drawing/2014/main" id="{53BDB5B5-754A-45D7-B414-AD62F5972F4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76299" y="2227769"/>
            <a:ext cx="360000" cy="360000"/>
          </a:xfrm>
          <a:prstGeom prst="rect">
            <a:avLst/>
          </a:prstGeom>
        </p:spPr>
      </p:pic>
      <p:pic>
        <p:nvPicPr>
          <p:cNvPr id="24" name="Grafik 23" descr="Benutzer mit einfarbiger Füllung">
            <a:extLst>
              <a:ext uri="{FF2B5EF4-FFF2-40B4-BE49-F238E27FC236}">
                <a16:creationId xmlns:a16="http://schemas.microsoft.com/office/drawing/2014/main" id="{07894F9C-A281-49C8-9F96-090AEAD6438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36001" y="3605941"/>
            <a:ext cx="360000" cy="360000"/>
          </a:xfrm>
          <a:prstGeom prst="rect">
            <a:avLst/>
          </a:prstGeom>
        </p:spPr>
      </p:pic>
      <p:pic>
        <p:nvPicPr>
          <p:cNvPr id="26" name="Grafik 25" descr="Uhr mit einfarbiger Füllung">
            <a:extLst>
              <a:ext uri="{FF2B5EF4-FFF2-40B4-BE49-F238E27FC236}">
                <a16:creationId xmlns:a16="http://schemas.microsoft.com/office/drawing/2014/main" id="{06748CE9-C4DE-470D-A50A-FA1E6882357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76299" y="4984112"/>
            <a:ext cx="360000" cy="360000"/>
          </a:xfrm>
          <a:prstGeom prst="rect">
            <a:avLst/>
          </a:prstGeom>
        </p:spPr>
      </p:pic>
      <p:pic>
        <p:nvPicPr>
          <p:cNvPr id="28" name="Grafik 27" descr="Globus Silhouette">
            <a:extLst>
              <a:ext uri="{FF2B5EF4-FFF2-40B4-BE49-F238E27FC236}">
                <a16:creationId xmlns:a16="http://schemas.microsoft.com/office/drawing/2014/main" id="{4E6B7E30-F060-4961-8147-E269359E20F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95999" y="3605941"/>
            <a:ext cx="360000" cy="360000"/>
          </a:xfrm>
          <a:prstGeom prst="rect">
            <a:avLst/>
          </a:prstGeom>
        </p:spPr>
      </p:pic>
      <p:pic>
        <p:nvPicPr>
          <p:cNvPr id="30" name="Grafik 29" descr="Glühlampe mit einfarbiger Füllung">
            <a:extLst>
              <a:ext uri="{FF2B5EF4-FFF2-40B4-BE49-F238E27FC236}">
                <a16:creationId xmlns:a16="http://schemas.microsoft.com/office/drawing/2014/main" id="{CF1CDEFA-8643-454D-A4B1-D195798F3FA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055703" y="4984113"/>
            <a:ext cx="360000" cy="36000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9C314F1B-A19F-20A5-8936-AF1BF3E0477C}"/>
              </a:ext>
            </a:extLst>
          </p:cNvPr>
          <p:cNvSpPr/>
          <p:nvPr/>
        </p:nvSpPr>
        <p:spPr bwMode="auto">
          <a:xfrm>
            <a:off x="334963" y="6321866"/>
            <a:ext cx="9468458" cy="33702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lang="de-DE" sz="80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Quelle: fuks e.V.</a:t>
            </a:r>
          </a:p>
        </p:txBody>
      </p:sp>
    </p:spTree>
    <p:extLst>
      <p:ext uri="{BB962C8B-B14F-4D97-AF65-F5344CB8AC3E}">
        <p14:creationId xmlns:p14="http://schemas.microsoft.com/office/powerpoint/2010/main" val="7711950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DCFD88FD-ACEB-43E8-AA65-1FE55F17BF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DCFD88FD-ACEB-43E8-AA65-1FE55F17BF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C113AF2-0569-43FB-BD50-948605629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chnittmengen 3 Kreise mit Erklärung der Schnittmengen</a:t>
            </a:r>
          </a:p>
        </p:txBody>
      </p:sp>
      <p:sp>
        <p:nvSpPr>
          <p:cNvPr id="3" name="Freeform 18">
            <a:extLst>
              <a:ext uri="{FF2B5EF4-FFF2-40B4-BE49-F238E27FC236}">
                <a16:creationId xmlns:a16="http://schemas.microsoft.com/office/drawing/2014/main" id="{567CF6A3-4699-4DD7-9F22-1613D94F32CD}"/>
              </a:ext>
            </a:extLst>
          </p:cNvPr>
          <p:cNvSpPr/>
          <p:nvPr/>
        </p:nvSpPr>
        <p:spPr>
          <a:xfrm>
            <a:off x="1559406" y="1564482"/>
            <a:ext cx="2809707" cy="2017068"/>
          </a:xfrm>
          <a:custGeom>
            <a:avLst/>
            <a:gdLst>
              <a:gd name="connsiteX0" fmla="*/ 1440000 w 2880000"/>
              <a:gd name="connsiteY0" fmla="*/ 0 h 2067531"/>
              <a:gd name="connsiteX1" fmla="*/ 2880000 w 2880000"/>
              <a:gd name="connsiteY1" fmla="*/ 1440000 h 2067531"/>
              <a:gd name="connsiteX2" fmla="*/ 2850744 w 2880000"/>
              <a:gd name="connsiteY2" fmla="*/ 1730210 h 2067531"/>
              <a:gd name="connsiteX3" fmla="*/ 2847285 w 2880000"/>
              <a:gd name="connsiteY3" fmla="*/ 1743664 h 2067531"/>
              <a:gd name="connsiteX4" fmla="*/ 2711369 w 2880000"/>
              <a:gd name="connsiteY4" fmla="*/ 1708716 h 2067531"/>
              <a:gd name="connsiteX5" fmla="*/ 2421159 w 2880000"/>
              <a:gd name="connsiteY5" fmla="*/ 1679460 h 2067531"/>
              <a:gd name="connsiteX6" fmla="*/ 1505185 w 2880000"/>
              <a:gd name="connsiteY6" fmla="*/ 2008286 h 2067531"/>
              <a:gd name="connsiteX7" fmla="*/ 1439999 w 2880000"/>
              <a:gd name="connsiteY7" fmla="*/ 2067531 h 2067531"/>
              <a:gd name="connsiteX8" fmla="*/ 1374813 w 2880000"/>
              <a:gd name="connsiteY8" fmla="*/ 2008286 h 2067531"/>
              <a:gd name="connsiteX9" fmla="*/ 458839 w 2880000"/>
              <a:gd name="connsiteY9" fmla="*/ 1679460 h 2067531"/>
              <a:gd name="connsiteX10" fmla="*/ 168629 w 2880000"/>
              <a:gd name="connsiteY10" fmla="*/ 1708716 h 2067531"/>
              <a:gd name="connsiteX11" fmla="*/ 32715 w 2880000"/>
              <a:gd name="connsiteY11" fmla="*/ 1743663 h 2067531"/>
              <a:gd name="connsiteX12" fmla="*/ 29256 w 2880000"/>
              <a:gd name="connsiteY12" fmla="*/ 1730210 h 2067531"/>
              <a:gd name="connsiteX13" fmla="*/ 0 w 2880000"/>
              <a:gd name="connsiteY13" fmla="*/ 1440000 h 2067531"/>
              <a:gd name="connsiteX14" fmla="*/ 1440000 w 2880000"/>
              <a:gd name="connsiteY14" fmla="*/ 0 h 206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80000" h="2067531">
                <a:moveTo>
                  <a:pt x="1440000" y="0"/>
                </a:moveTo>
                <a:cubicBezTo>
                  <a:pt x="2235290" y="0"/>
                  <a:pt x="2880000" y="644710"/>
                  <a:pt x="2880000" y="1440000"/>
                </a:cubicBezTo>
                <a:cubicBezTo>
                  <a:pt x="2880000" y="1539411"/>
                  <a:pt x="2869927" y="1636470"/>
                  <a:pt x="2850744" y="1730210"/>
                </a:cubicBezTo>
                <a:lnTo>
                  <a:pt x="2847285" y="1743664"/>
                </a:lnTo>
                <a:lnTo>
                  <a:pt x="2711369" y="1708716"/>
                </a:lnTo>
                <a:cubicBezTo>
                  <a:pt x="2617629" y="1689534"/>
                  <a:pt x="2520570" y="1679460"/>
                  <a:pt x="2421159" y="1679460"/>
                </a:cubicBezTo>
                <a:cubicBezTo>
                  <a:pt x="2073220" y="1679460"/>
                  <a:pt x="1754102" y="1802862"/>
                  <a:pt x="1505185" y="2008286"/>
                </a:cubicBezTo>
                <a:lnTo>
                  <a:pt x="1439999" y="2067531"/>
                </a:lnTo>
                <a:lnTo>
                  <a:pt x="1374813" y="2008286"/>
                </a:lnTo>
                <a:cubicBezTo>
                  <a:pt x="1125896" y="1802862"/>
                  <a:pt x="806778" y="1679460"/>
                  <a:pt x="458839" y="1679460"/>
                </a:cubicBezTo>
                <a:cubicBezTo>
                  <a:pt x="359428" y="1679460"/>
                  <a:pt x="262369" y="1689534"/>
                  <a:pt x="168629" y="1708716"/>
                </a:cubicBezTo>
                <a:lnTo>
                  <a:pt x="32715" y="1743663"/>
                </a:lnTo>
                <a:lnTo>
                  <a:pt x="29256" y="1730210"/>
                </a:lnTo>
                <a:cubicBezTo>
                  <a:pt x="10073" y="1636470"/>
                  <a:pt x="0" y="1539411"/>
                  <a:pt x="0" y="1440000"/>
                </a:cubicBezTo>
                <a:cubicBezTo>
                  <a:pt x="0" y="644710"/>
                  <a:pt x="644710" y="0"/>
                  <a:pt x="1440000" y="0"/>
                </a:cubicBezTo>
                <a:close/>
              </a:path>
            </a:pathLst>
          </a:custGeom>
          <a:solidFill>
            <a:schemeClr val="bg2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17">
            <a:extLst>
              <a:ext uri="{FF2B5EF4-FFF2-40B4-BE49-F238E27FC236}">
                <a16:creationId xmlns:a16="http://schemas.microsoft.com/office/drawing/2014/main" id="{2618FDE9-EAF0-49E1-A99C-7095B0F6B930}"/>
              </a:ext>
            </a:extLst>
          </p:cNvPr>
          <p:cNvSpPr/>
          <p:nvPr/>
        </p:nvSpPr>
        <p:spPr>
          <a:xfrm>
            <a:off x="602193" y="3265587"/>
            <a:ext cx="2362066" cy="2747070"/>
          </a:xfrm>
          <a:custGeom>
            <a:avLst/>
            <a:gdLst>
              <a:gd name="connsiteX0" fmla="*/ 1013876 w 2421160"/>
              <a:gd name="connsiteY0" fmla="*/ 0 h 2815797"/>
              <a:gd name="connsiteX1" fmla="*/ 1045901 w 2421160"/>
              <a:gd name="connsiteY1" fmla="*/ 124549 h 2815797"/>
              <a:gd name="connsiteX2" fmla="*/ 1992949 w 2421160"/>
              <a:gd name="connsiteY2" fmla="*/ 1071597 h 2815797"/>
              <a:gd name="connsiteX3" fmla="*/ 1995035 w 2421160"/>
              <a:gd name="connsiteY3" fmla="*/ 1072134 h 2815797"/>
              <a:gd name="connsiteX4" fmla="*/ 1991576 w 2421160"/>
              <a:gd name="connsiteY4" fmla="*/ 1085587 h 2815797"/>
              <a:gd name="connsiteX5" fmla="*/ 1962320 w 2421160"/>
              <a:gd name="connsiteY5" fmla="*/ 1375797 h 2815797"/>
              <a:gd name="connsiteX6" fmla="*/ 2384086 w 2421160"/>
              <a:gd name="connsiteY6" fmla="*/ 2394031 h 2815797"/>
              <a:gd name="connsiteX7" fmla="*/ 2421160 w 2421160"/>
              <a:gd name="connsiteY7" fmla="*/ 2427726 h 2815797"/>
              <a:gd name="connsiteX8" fmla="*/ 2355974 w 2421160"/>
              <a:gd name="connsiteY8" fmla="*/ 2486971 h 2815797"/>
              <a:gd name="connsiteX9" fmla="*/ 1440000 w 2421160"/>
              <a:gd name="connsiteY9" fmla="*/ 2815797 h 2815797"/>
              <a:gd name="connsiteX10" fmla="*/ 0 w 2421160"/>
              <a:gd name="connsiteY10" fmla="*/ 1375797 h 2815797"/>
              <a:gd name="connsiteX11" fmla="*/ 1011788 w 2421160"/>
              <a:gd name="connsiteY11" fmla="*/ 537 h 2815797"/>
              <a:gd name="connsiteX12" fmla="*/ 1013876 w 2421160"/>
              <a:gd name="connsiteY12" fmla="*/ 0 h 281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1160" h="2815797">
                <a:moveTo>
                  <a:pt x="1013876" y="0"/>
                </a:moveTo>
                <a:lnTo>
                  <a:pt x="1045901" y="124549"/>
                </a:lnTo>
                <a:cubicBezTo>
                  <a:pt x="1186147" y="575456"/>
                  <a:pt x="1542042" y="931351"/>
                  <a:pt x="1992949" y="1071597"/>
                </a:cubicBezTo>
                <a:lnTo>
                  <a:pt x="1995035" y="1072134"/>
                </a:lnTo>
                <a:lnTo>
                  <a:pt x="1991576" y="1085587"/>
                </a:lnTo>
                <a:cubicBezTo>
                  <a:pt x="1972394" y="1179328"/>
                  <a:pt x="1962320" y="1276386"/>
                  <a:pt x="1962320" y="1375797"/>
                </a:cubicBezTo>
                <a:cubicBezTo>
                  <a:pt x="1962320" y="1773442"/>
                  <a:pt x="2123498" y="2133442"/>
                  <a:pt x="2384086" y="2394031"/>
                </a:cubicBezTo>
                <a:lnTo>
                  <a:pt x="2421160" y="2427726"/>
                </a:lnTo>
                <a:lnTo>
                  <a:pt x="2355974" y="2486971"/>
                </a:lnTo>
                <a:cubicBezTo>
                  <a:pt x="2107057" y="2692396"/>
                  <a:pt x="1787939" y="2815797"/>
                  <a:pt x="1440000" y="2815797"/>
                </a:cubicBezTo>
                <a:cubicBezTo>
                  <a:pt x="644710" y="2815797"/>
                  <a:pt x="0" y="2171087"/>
                  <a:pt x="0" y="1375797"/>
                </a:cubicBezTo>
                <a:cubicBezTo>
                  <a:pt x="0" y="729624"/>
                  <a:pt x="425609" y="182857"/>
                  <a:pt x="1011788" y="537"/>
                </a:cubicBezTo>
                <a:lnTo>
                  <a:pt x="1013876" y="0"/>
                </a:lnTo>
                <a:close/>
              </a:path>
            </a:pathLst>
          </a:custGeom>
          <a:solidFill>
            <a:schemeClr val="bg2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5" name="Freeform 16">
            <a:extLst>
              <a:ext uri="{FF2B5EF4-FFF2-40B4-BE49-F238E27FC236}">
                <a16:creationId xmlns:a16="http://schemas.microsoft.com/office/drawing/2014/main" id="{15D1945E-0B84-4730-9EE0-641A28AA4C12}"/>
              </a:ext>
            </a:extLst>
          </p:cNvPr>
          <p:cNvSpPr/>
          <p:nvPr/>
        </p:nvSpPr>
        <p:spPr>
          <a:xfrm>
            <a:off x="2964259" y="3265587"/>
            <a:ext cx="2362066" cy="2747070"/>
          </a:xfrm>
          <a:custGeom>
            <a:avLst/>
            <a:gdLst>
              <a:gd name="connsiteX0" fmla="*/ 1407286 w 2421160"/>
              <a:gd name="connsiteY0" fmla="*/ 0 h 2815796"/>
              <a:gd name="connsiteX1" fmla="*/ 1409372 w 2421160"/>
              <a:gd name="connsiteY1" fmla="*/ 536 h 2815796"/>
              <a:gd name="connsiteX2" fmla="*/ 2421160 w 2421160"/>
              <a:gd name="connsiteY2" fmla="*/ 1375796 h 2815796"/>
              <a:gd name="connsiteX3" fmla="*/ 981160 w 2421160"/>
              <a:gd name="connsiteY3" fmla="*/ 2815796 h 2815796"/>
              <a:gd name="connsiteX4" fmla="*/ 65186 w 2421160"/>
              <a:gd name="connsiteY4" fmla="*/ 2486970 h 2815796"/>
              <a:gd name="connsiteX5" fmla="*/ 0 w 2421160"/>
              <a:gd name="connsiteY5" fmla="*/ 2427725 h 2815796"/>
              <a:gd name="connsiteX6" fmla="*/ 37074 w 2421160"/>
              <a:gd name="connsiteY6" fmla="*/ 2394030 h 2815796"/>
              <a:gd name="connsiteX7" fmla="*/ 458840 w 2421160"/>
              <a:gd name="connsiteY7" fmla="*/ 1375796 h 2815796"/>
              <a:gd name="connsiteX8" fmla="*/ 429584 w 2421160"/>
              <a:gd name="connsiteY8" fmla="*/ 1085586 h 2815796"/>
              <a:gd name="connsiteX9" fmla="*/ 426125 w 2421160"/>
              <a:gd name="connsiteY9" fmla="*/ 1072133 h 2815796"/>
              <a:gd name="connsiteX10" fmla="*/ 428213 w 2421160"/>
              <a:gd name="connsiteY10" fmla="*/ 1071596 h 2815796"/>
              <a:gd name="connsiteX11" fmla="*/ 1375261 w 2421160"/>
              <a:gd name="connsiteY11" fmla="*/ 124548 h 2815796"/>
              <a:gd name="connsiteX12" fmla="*/ 1407286 w 2421160"/>
              <a:gd name="connsiteY12" fmla="*/ 0 h 2815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1160" h="2815796">
                <a:moveTo>
                  <a:pt x="1407286" y="0"/>
                </a:moveTo>
                <a:lnTo>
                  <a:pt x="1409372" y="536"/>
                </a:lnTo>
                <a:cubicBezTo>
                  <a:pt x="1995551" y="182856"/>
                  <a:pt x="2421160" y="729623"/>
                  <a:pt x="2421160" y="1375796"/>
                </a:cubicBezTo>
                <a:cubicBezTo>
                  <a:pt x="2421160" y="2171086"/>
                  <a:pt x="1776450" y="2815796"/>
                  <a:pt x="981160" y="2815796"/>
                </a:cubicBezTo>
                <a:cubicBezTo>
                  <a:pt x="633221" y="2815796"/>
                  <a:pt x="314103" y="2692395"/>
                  <a:pt x="65186" y="2486970"/>
                </a:cubicBezTo>
                <a:lnTo>
                  <a:pt x="0" y="2427725"/>
                </a:lnTo>
                <a:lnTo>
                  <a:pt x="37074" y="2394030"/>
                </a:lnTo>
                <a:cubicBezTo>
                  <a:pt x="297663" y="2133441"/>
                  <a:pt x="458840" y="1773441"/>
                  <a:pt x="458840" y="1375796"/>
                </a:cubicBezTo>
                <a:cubicBezTo>
                  <a:pt x="458840" y="1276385"/>
                  <a:pt x="448767" y="1179327"/>
                  <a:pt x="429584" y="1085586"/>
                </a:cubicBezTo>
                <a:lnTo>
                  <a:pt x="426125" y="1072133"/>
                </a:lnTo>
                <a:lnTo>
                  <a:pt x="428213" y="1071596"/>
                </a:lnTo>
                <a:cubicBezTo>
                  <a:pt x="879120" y="931350"/>
                  <a:pt x="1235015" y="575455"/>
                  <a:pt x="1375261" y="124548"/>
                </a:cubicBezTo>
                <a:lnTo>
                  <a:pt x="1407286" y="0"/>
                </a:lnTo>
                <a:close/>
              </a:path>
            </a:pathLst>
          </a:custGeom>
          <a:solidFill>
            <a:schemeClr val="bg2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Freeform 22">
            <a:extLst>
              <a:ext uri="{FF2B5EF4-FFF2-40B4-BE49-F238E27FC236}">
                <a16:creationId xmlns:a16="http://schemas.microsoft.com/office/drawing/2014/main" id="{8CF66FCB-8F50-477D-9E7C-E5685BC0D97A}"/>
              </a:ext>
            </a:extLst>
          </p:cNvPr>
          <p:cNvSpPr/>
          <p:nvPr/>
        </p:nvSpPr>
        <p:spPr>
          <a:xfrm>
            <a:off x="1591324" y="3202951"/>
            <a:ext cx="1372935" cy="1108602"/>
          </a:xfrm>
          <a:custGeom>
            <a:avLst/>
            <a:gdLst>
              <a:gd name="connsiteX0" fmla="*/ 426124 w 1407284"/>
              <a:gd name="connsiteY0" fmla="*/ 0 h 1136337"/>
              <a:gd name="connsiteX1" fmla="*/ 1342098 w 1407284"/>
              <a:gd name="connsiteY1" fmla="*/ 328826 h 1136337"/>
              <a:gd name="connsiteX2" fmla="*/ 1407284 w 1407284"/>
              <a:gd name="connsiteY2" fmla="*/ 388071 h 1136337"/>
              <a:gd name="connsiteX3" fmla="*/ 1370210 w 1407284"/>
              <a:gd name="connsiteY3" fmla="*/ 421766 h 1136337"/>
              <a:gd name="connsiteX4" fmla="*/ 1013184 w 1407284"/>
              <a:gd name="connsiteY4" fmla="*/ 1011788 h 1136337"/>
              <a:gd name="connsiteX5" fmla="*/ 981159 w 1407284"/>
              <a:gd name="connsiteY5" fmla="*/ 1136337 h 1136337"/>
              <a:gd name="connsiteX6" fmla="*/ 979073 w 1407284"/>
              <a:gd name="connsiteY6" fmla="*/ 1135800 h 1136337"/>
              <a:gd name="connsiteX7" fmla="*/ 32025 w 1407284"/>
              <a:gd name="connsiteY7" fmla="*/ 188752 h 1136337"/>
              <a:gd name="connsiteX8" fmla="*/ 0 w 1407284"/>
              <a:gd name="connsiteY8" fmla="*/ 64203 h 1136337"/>
              <a:gd name="connsiteX9" fmla="*/ 135914 w 1407284"/>
              <a:gd name="connsiteY9" fmla="*/ 29256 h 1136337"/>
              <a:gd name="connsiteX10" fmla="*/ 426124 w 1407284"/>
              <a:gd name="connsiteY10" fmla="*/ 0 h 1136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07284" h="1136337">
                <a:moveTo>
                  <a:pt x="426124" y="0"/>
                </a:moveTo>
                <a:cubicBezTo>
                  <a:pt x="774063" y="0"/>
                  <a:pt x="1093181" y="123402"/>
                  <a:pt x="1342098" y="328826"/>
                </a:cubicBezTo>
                <a:lnTo>
                  <a:pt x="1407284" y="388071"/>
                </a:lnTo>
                <a:lnTo>
                  <a:pt x="1370210" y="421766"/>
                </a:lnTo>
                <a:cubicBezTo>
                  <a:pt x="1207343" y="584634"/>
                  <a:pt x="1083307" y="786335"/>
                  <a:pt x="1013184" y="1011788"/>
                </a:cubicBezTo>
                <a:lnTo>
                  <a:pt x="981159" y="1136337"/>
                </a:lnTo>
                <a:lnTo>
                  <a:pt x="979073" y="1135800"/>
                </a:lnTo>
                <a:cubicBezTo>
                  <a:pt x="528166" y="995554"/>
                  <a:pt x="172271" y="639659"/>
                  <a:pt x="32025" y="188752"/>
                </a:cubicBezTo>
                <a:lnTo>
                  <a:pt x="0" y="64203"/>
                </a:lnTo>
                <a:lnTo>
                  <a:pt x="135914" y="29256"/>
                </a:lnTo>
                <a:cubicBezTo>
                  <a:pt x="229654" y="10074"/>
                  <a:pt x="326713" y="0"/>
                  <a:pt x="426124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Freeform 20">
            <a:extLst>
              <a:ext uri="{FF2B5EF4-FFF2-40B4-BE49-F238E27FC236}">
                <a16:creationId xmlns:a16="http://schemas.microsoft.com/office/drawing/2014/main" id="{DF1BC610-FE43-45A3-AB6B-9A33FA1F1104}"/>
              </a:ext>
            </a:extLst>
          </p:cNvPr>
          <p:cNvSpPr/>
          <p:nvPr/>
        </p:nvSpPr>
        <p:spPr>
          <a:xfrm>
            <a:off x="2964259" y="3202951"/>
            <a:ext cx="1372937" cy="1108602"/>
          </a:xfrm>
          <a:custGeom>
            <a:avLst/>
            <a:gdLst>
              <a:gd name="connsiteX0" fmla="*/ 981160 w 1407286"/>
              <a:gd name="connsiteY0" fmla="*/ 0 h 1136337"/>
              <a:gd name="connsiteX1" fmla="*/ 1271370 w 1407286"/>
              <a:gd name="connsiteY1" fmla="*/ 29256 h 1136337"/>
              <a:gd name="connsiteX2" fmla="*/ 1407286 w 1407286"/>
              <a:gd name="connsiteY2" fmla="*/ 64204 h 1136337"/>
              <a:gd name="connsiteX3" fmla="*/ 1375261 w 1407286"/>
              <a:gd name="connsiteY3" fmla="*/ 188752 h 1136337"/>
              <a:gd name="connsiteX4" fmla="*/ 428213 w 1407286"/>
              <a:gd name="connsiteY4" fmla="*/ 1135800 h 1136337"/>
              <a:gd name="connsiteX5" fmla="*/ 426125 w 1407286"/>
              <a:gd name="connsiteY5" fmla="*/ 1136337 h 1136337"/>
              <a:gd name="connsiteX6" fmla="*/ 394100 w 1407286"/>
              <a:gd name="connsiteY6" fmla="*/ 1011788 h 1136337"/>
              <a:gd name="connsiteX7" fmla="*/ 37074 w 1407286"/>
              <a:gd name="connsiteY7" fmla="*/ 421766 h 1136337"/>
              <a:gd name="connsiteX8" fmla="*/ 0 w 1407286"/>
              <a:gd name="connsiteY8" fmla="*/ 388071 h 1136337"/>
              <a:gd name="connsiteX9" fmla="*/ 65186 w 1407286"/>
              <a:gd name="connsiteY9" fmla="*/ 328826 h 1136337"/>
              <a:gd name="connsiteX10" fmla="*/ 981160 w 1407286"/>
              <a:gd name="connsiteY10" fmla="*/ 0 h 1136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07286" h="1136337">
                <a:moveTo>
                  <a:pt x="981160" y="0"/>
                </a:moveTo>
                <a:cubicBezTo>
                  <a:pt x="1080571" y="0"/>
                  <a:pt x="1177630" y="10074"/>
                  <a:pt x="1271370" y="29256"/>
                </a:cubicBezTo>
                <a:lnTo>
                  <a:pt x="1407286" y="64204"/>
                </a:lnTo>
                <a:lnTo>
                  <a:pt x="1375261" y="188752"/>
                </a:lnTo>
                <a:cubicBezTo>
                  <a:pt x="1235015" y="639659"/>
                  <a:pt x="879120" y="995554"/>
                  <a:pt x="428213" y="1135800"/>
                </a:cubicBezTo>
                <a:lnTo>
                  <a:pt x="426125" y="1136337"/>
                </a:lnTo>
                <a:lnTo>
                  <a:pt x="394100" y="1011788"/>
                </a:lnTo>
                <a:cubicBezTo>
                  <a:pt x="323977" y="786335"/>
                  <a:pt x="199942" y="584634"/>
                  <a:pt x="37074" y="421766"/>
                </a:cubicBezTo>
                <a:lnTo>
                  <a:pt x="0" y="388071"/>
                </a:lnTo>
                <a:lnTo>
                  <a:pt x="65186" y="328826"/>
                </a:lnTo>
                <a:cubicBezTo>
                  <a:pt x="314103" y="123402"/>
                  <a:pt x="633221" y="0"/>
                  <a:pt x="981160" y="0"/>
                </a:cubicBezTo>
                <a:close/>
              </a:path>
            </a:pathLst>
          </a:custGeom>
          <a:solidFill>
            <a:schemeClr val="accent2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0EE8BD56-6553-400A-9CEB-396D22234FDC}"/>
              </a:ext>
            </a:extLst>
          </p:cNvPr>
          <p:cNvSpPr/>
          <p:nvPr/>
        </p:nvSpPr>
        <p:spPr>
          <a:xfrm>
            <a:off x="2516617" y="4311553"/>
            <a:ext cx="895281" cy="1322505"/>
          </a:xfrm>
          <a:custGeom>
            <a:avLst/>
            <a:gdLst>
              <a:gd name="connsiteX0" fmla="*/ 32715 w 917680"/>
              <a:gd name="connsiteY0" fmla="*/ 0 h 1355592"/>
              <a:gd name="connsiteX1" fmla="*/ 168631 w 917680"/>
              <a:gd name="connsiteY1" fmla="*/ 34947 h 1355592"/>
              <a:gd name="connsiteX2" fmla="*/ 458841 w 917680"/>
              <a:gd name="connsiteY2" fmla="*/ 64203 h 1355592"/>
              <a:gd name="connsiteX3" fmla="*/ 749051 w 917680"/>
              <a:gd name="connsiteY3" fmla="*/ 34947 h 1355592"/>
              <a:gd name="connsiteX4" fmla="*/ 884965 w 917680"/>
              <a:gd name="connsiteY4" fmla="*/ 0 h 1355592"/>
              <a:gd name="connsiteX5" fmla="*/ 888424 w 917680"/>
              <a:gd name="connsiteY5" fmla="*/ 13453 h 1355592"/>
              <a:gd name="connsiteX6" fmla="*/ 917680 w 917680"/>
              <a:gd name="connsiteY6" fmla="*/ 303663 h 1355592"/>
              <a:gd name="connsiteX7" fmla="*/ 495914 w 917680"/>
              <a:gd name="connsiteY7" fmla="*/ 1321897 h 1355592"/>
              <a:gd name="connsiteX8" fmla="*/ 458840 w 917680"/>
              <a:gd name="connsiteY8" fmla="*/ 1355592 h 1355592"/>
              <a:gd name="connsiteX9" fmla="*/ 421766 w 917680"/>
              <a:gd name="connsiteY9" fmla="*/ 1321897 h 1355592"/>
              <a:gd name="connsiteX10" fmla="*/ 0 w 917680"/>
              <a:gd name="connsiteY10" fmla="*/ 303663 h 1355592"/>
              <a:gd name="connsiteX11" fmla="*/ 29256 w 917680"/>
              <a:gd name="connsiteY11" fmla="*/ 13453 h 1355592"/>
              <a:gd name="connsiteX12" fmla="*/ 32715 w 917680"/>
              <a:gd name="connsiteY12" fmla="*/ 0 h 135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7680" h="1355592">
                <a:moveTo>
                  <a:pt x="32715" y="0"/>
                </a:moveTo>
                <a:lnTo>
                  <a:pt x="168631" y="34947"/>
                </a:lnTo>
                <a:cubicBezTo>
                  <a:pt x="262372" y="54130"/>
                  <a:pt x="359430" y="64203"/>
                  <a:pt x="458841" y="64203"/>
                </a:cubicBezTo>
                <a:cubicBezTo>
                  <a:pt x="558252" y="64203"/>
                  <a:pt x="655311" y="54130"/>
                  <a:pt x="749051" y="34947"/>
                </a:cubicBezTo>
                <a:lnTo>
                  <a:pt x="884965" y="0"/>
                </a:lnTo>
                <a:lnTo>
                  <a:pt x="888424" y="13453"/>
                </a:lnTo>
                <a:cubicBezTo>
                  <a:pt x="907607" y="107194"/>
                  <a:pt x="917680" y="204252"/>
                  <a:pt x="917680" y="303663"/>
                </a:cubicBezTo>
                <a:cubicBezTo>
                  <a:pt x="917680" y="701308"/>
                  <a:pt x="756503" y="1061308"/>
                  <a:pt x="495914" y="1321897"/>
                </a:cubicBezTo>
                <a:lnTo>
                  <a:pt x="458840" y="1355592"/>
                </a:lnTo>
                <a:lnTo>
                  <a:pt x="421766" y="1321897"/>
                </a:lnTo>
                <a:cubicBezTo>
                  <a:pt x="161178" y="1061308"/>
                  <a:pt x="0" y="701308"/>
                  <a:pt x="0" y="303663"/>
                </a:cubicBezTo>
                <a:cubicBezTo>
                  <a:pt x="0" y="204252"/>
                  <a:pt x="10074" y="107194"/>
                  <a:pt x="29256" y="13453"/>
                </a:cubicBezTo>
                <a:lnTo>
                  <a:pt x="32715" y="0"/>
                </a:lnTo>
                <a:close/>
              </a:path>
            </a:pathLst>
          </a:custGeom>
          <a:solidFill>
            <a:schemeClr val="accent1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Freeform 15">
            <a:extLst>
              <a:ext uri="{FF2B5EF4-FFF2-40B4-BE49-F238E27FC236}">
                <a16:creationId xmlns:a16="http://schemas.microsoft.com/office/drawing/2014/main" id="{9A660148-539F-43C5-AA4F-3DDC9D8B6D7A}"/>
              </a:ext>
            </a:extLst>
          </p:cNvPr>
          <p:cNvSpPr/>
          <p:nvPr/>
        </p:nvSpPr>
        <p:spPr>
          <a:xfrm>
            <a:off x="2548535" y="3581550"/>
            <a:ext cx="831449" cy="792638"/>
          </a:xfrm>
          <a:custGeom>
            <a:avLst/>
            <a:gdLst>
              <a:gd name="connsiteX0" fmla="*/ 426125 w 852250"/>
              <a:gd name="connsiteY0" fmla="*/ 0 h 812469"/>
              <a:gd name="connsiteX1" fmla="*/ 463199 w 852250"/>
              <a:gd name="connsiteY1" fmla="*/ 33695 h 812469"/>
              <a:gd name="connsiteX2" fmla="*/ 820225 w 852250"/>
              <a:gd name="connsiteY2" fmla="*/ 623717 h 812469"/>
              <a:gd name="connsiteX3" fmla="*/ 852250 w 852250"/>
              <a:gd name="connsiteY3" fmla="*/ 748266 h 812469"/>
              <a:gd name="connsiteX4" fmla="*/ 716336 w 852250"/>
              <a:gd name="connsiteY4" fmla="*/ 783213 h 812469"/>
              <a:gd name="connsiteX5" fmla="*/ 426126 w 852250"/>
              <a:gd name="connsiteY5" fmla="*/ 812469 h 812469"/>
              <a:gd name="connsiteX6" fmla="*/ 135916 w 852250"/>
              <a:gd name="connsiteY6" fmla="*/ 783213 h 812469"/>
              <a:gd name="connsiteX7" fmla="*/ 0 w 852250"/>
              <a:gd name="connsiteY7" fmla="*/ 748266 h 812469"/>
              <a:gd name="connsiteX8" fmla="*/ 32025 w 852250"/>
              <a:gd name="connsiteY8" fmla="*/ 623717 h 812469"/>
              <a:gd name="connsiteX9" fmla="*/ 389051 w 852250"/>
              <a:gd name="connsiteY9" fmla="*/ 33695 h 812469"/>
              <a:gd name="connsiteX10" fmla="*/ 426125 w 852250"/>
              <a:gd name="connsiteY10" fmla="*/ 0 h 812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2250" h="812469">
                <a:moveTo>
                  <a:pt x="426125" y="0"/>
                </a:moveTo>
                <a:lnTo>
                  <a:pt x="463199" y="33695"/>
                </a:lnTo>
                <a:cubicBezTo>
                  <a:pt x="626067" y="196563"/>
                  <a:pt x="750102" y="398264"/>
                  <a:pt x="820225" y="623717"/>
                </a:cubicBezTo>
                <a:lnTo>
                  <a:pt x="852250" y="748266"/>
                </a:lnTo>
                <a:lnTo>
                  <a:pt x="716336" y="783213"/>
                </a:lnTo>
                <a:cubicBezTo>
                  <a:pt x="622596" y="802396"/>
                  <a:pt x="525537" y="812469"/>
                  <a:pt x="426126" y="812469"/>
                </a:cubicBezTo>
                <a:cubicBezTo>
                  <a:pt x="326715" y="812469"/>
                  <a:pt x="229657" y="802396"/>
                  <a:pt x="135916" y="783213"/>
                </a:cubicBezTo>
                <a:lnTo>
                  <a:pt x="0" y="748266"/>
                </a:lnTo>
                <a:lnTo>
                  <a:pt x="32025" y="623717"/>
                </a:lnTo>
                <a:cubicBezTo>
                  <a:pt x="102148" y="398264"/>
                  <a:pt x="226184" y="196563"/>
                  <a:pt x="389051" y="33695"/>
                </a:cubicBezTo>
                <a:lnTo>
                  <a:pt x="426125" y="0"/>
                </a:lnTo>
                <a:close/>
              </a:path>
            </a:pathLst>
          </a:custGeom>
          <a:solidFill>
            <a:schemeClr val="tx1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F10C88A-367A-41A8-8633-5E5BCFD09C5C}"/>
              </a:ext>
            </a:extLst>
          </p:cNvPr>
          <p:cNvSpPr/>
          <p:nvPr/>
        </p:nvSpPr>
        <p:spPr bwMode="auto">
          <a:xfrm>
            <a:off x="2738834" y="3806419"/>
            <a:ext cx="450850" cy="34290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04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86B197C-480C-4448-B3DE-AAB8387FE506}"/>
              </a:ext>
            </a:extLst>
          </p:cNvPr>
          <p:cNvSpPr/>
          <p:nvPr/>
        </p:nvSpPr>
        <p:spPr bwMode="auto">
          <a:xfrm>
            <a:off x="3425303" y="3585802"/>
            <a:ext cx="450850" cy="34290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02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D12204B-FFA7-4FEC-B36F-E6DAF59EBD75}"/>
              </a:ext>
            </a:extLst>
          </p:cNvPr>
          <p:cNvSpPr/>
          <p:nvPr/>
        </p:nvSpPr>
        <p:spPr bwMode="auto">
          <a:xfrm>
            <a:off x="2052367" y="3585802"/>
            <a:ext cx="450850" cy="34290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01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97E1758-FAA6-4379-BAA9-DC1F8B32B17E}"/>
              </a:ext>
            </a:extLst>
          </p:cNvPr>
          <p:cNvSpPr/>
          <p:nvPr/>
        </p:nvSpPr>
        <p:spPr bwMode="auto">
          <a:xfrm>
            <a:off x="2738832" y="4654657"/>
            <a:ext cx="450850" cy="34290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03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2B87762-40AE-4718-AF51-CCFC640F4D70}"/>
              </a:ext>
            </a:extLst>
          </p:cNvPr>
          <p:cNvSpPr/>
          <p:nvPr/>
        </p:nvSpPr>
        <p:spPr bwMode="auto">
          <a:xfrm>
            <a:off x="2052366" y="2316516"/>
            <a:ext cx="1823786" cy="512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600" b="1" dirty="0"/>
              <a:t>Thema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99AD073-DCDD-4658-9E8A-CADC0F981956}"/>
              </a:ext>
            </a:extLst>
          </p:cNvPr>
          <p:cNvSpPr/>
          <p:nvPr/>
        </p:nvSpPr>
        <p:spPr bwMode="auto">
          <a:xfrm>
            <a:off x="871333" y="4382623"/>
            <a:ext cx="1823786" cy="512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600" b="1" dirty="0"/>
              <a:t>Thema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AA74090-2870-475C-88B6-73F9B03A4CFD}"/>
              </a:ext>
            </a:extLst>
          </p:cNvPr>
          <p:cNvSpPr/>
          <p:nvPr/>
        </p:nvSpPr>
        <p:spPr bwMode="auto">
          <a:xfrm>
            <a:off x="3233399" y="4382623"/>
            <a:ext cx="1823786" cy="512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lang="de-DE" sz="1600" b="1" dirty="0"/>
              <a:t>Thema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7B55ED55-BC45-4D50-B5B1-BC9BD43D671E}"/>
              </a:ext>
            </a:extLst>
          </p:cNvPr>
          <p:cNvGrpSpPr/>
          <p:nvPr/>
        </p:nvGrpSpPr>
        <p:grpSpPr>
          <a:xfrm>
            <a:off x="6375400" y="1429678"/>
            <a:ext cx="5481638" cy="756962"/>
            <a:chOff x="6375400" y="1268413"/>
            <a:chExt cx="5481638" cy="756962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309171FA-0F9C-4BD2-8024-176B4E221EFF}"/>
                </a:ext>
              </a:extLst>
            </p:cNvPr>
            <p:cNvSpPr/>
            <p:nvPr/>
          </p:nvSpPr>
          <p:spPr bwMode="auto">
            <a:xfrm>
              <a:off x="7169150" y="1268413"/>
              <a:ext cx="4687888" cy="756962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Lorem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ipsum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dolor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sit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amet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,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consetetur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sadipscing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b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</a:b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elitr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, sed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diam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nonumy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eirmod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tempor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invidunt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ut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  <a:b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</a:b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labore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et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dolore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magna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aliquyam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erat, sed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diam</a:t>
              </a: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0F09922B-7525-450D-86CF-BBE9D2B403AD}"/>
                </a:ext>
              </a:extLst>
            </p:cNvPr>
            <p:cNvSpPr/>
            <p:nvPr/>
          </p:nvSpPr>
          <p:spPr bwMode="auto">
            <a:xfrm>
              <a:off x="6375400" y="1376894"/>
              <a:ext cx="540000" cy="540000"/>
            </a:xfrm>
            <a:prstGeom prst="ellipse">
              <a:avLst/>
            </a:prstGeom>
            <a:solidFill>
              <a:schemeClr val="accent3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2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</a:rPr>
                <a:t>01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6B7CD0E-F1A7-4BBA-B95D-B8B613077E15}"/>
              </a:ext>
            </a:extLst>
          </p:cNvPr>
          <p:cNvGrpSpPr/>
          <p:nvPr/>
        </p:nvGrpSpPr>
        <p:grpSpPr>
          <a:xfrm>
            <a:off x="6375400" y="2756818"/>
            <a:ext cx="5481638" cy="756962"/>
            <a:chOff x="6375400" y="1268413"/>
            <a:chExt cx="5481638" cy="756962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6C9C8FCF-6810-474D-895D-B9EAEFF903B6}"/>
                </a:ext>
              </a:extLst>
            </p:cNvPr>
            <p:cNvSpPr/>
            <p:nvPr/>
          </p:nvSpPr>
          <p:spPr bwMode="auto">
            <a:xfrm>
              <a:off x="7169150" y="1268413"/>
              <a:ext cx="4687888" cy="756962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Zusammenhang von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Frenco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Daten mit Drehwinkelabweichung von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meisterrad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</a:t>
              </a: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18C41D92-167E-4931-993A-2B559DE853F1}"/>
                </a:ext>
              </a:extLst>
            </p:cNvPr>
            <p:cNvSpPr/>
            <p:nvPr/>
          </p:nvSpPr>
          <p:spPr bwMode="auto">
            <a:xfrm>
              <a:off x="6375400" y="1376894"/>
              <a:ext cx="540000" cy="540000"/>
            </a:xfrm>
            <a:prstGeom prst="ellipse">
              <a:avLst/>
            </a:prstGeom>
            <a:solidFill>
              <a:schemeClr val="accent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2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</a:rPr>
                <a:t>02</a:t>
              </a: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C549EC8B-D476-46D2-BFA3-EE81D96D4BA0}"/>
              </a:ext>
            </a:extLst>
          </p:cNvPr>
          <p:cNvGrpSpPr/>
          <p:nvPr/>
        </p:nvGrpSpPr>
        <p:grpSpPr>
          <a:xfrm>
            <a:off x="6375400" y="4083959"/>
            <a:ext cx="5481638" cy="756962"/>
            <a:chOff x="6375400" y="1268413"/>
            <a:chExt cx="5481638" cy="756962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602C0E2F-D632-4006-9AC6-57AE36C5C7B8}"/>
                </a:ext>
              </a:extLst>
            </p:cNvPr>
            <p:cNvSpPr/>
            <p:nvPr/>
          </p:nvSpPr>
          <p:spPr bwMode="auto">
            <a:xfrm>
              <a:off x="7169150" y="1268413"/>
              <a:ext cx="4687888" cy="756962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Zusammenhang von geometrischen Daten und </a:t>
              </a:r>
              <a:r>
                <a:rPr kumimoji="0" lang="de-DE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Frenco</a:t>
              </a:r>
              <a:r>
                <a:rPr kumimoji="0" lang="de-DE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 daten</a:t>
              </a: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D33CA937-512A-4469-869D-7DF5BF7798FE}"/>
                </a:ext>
              </a:extLst>
            </p:cNvPr>
            <p:cNvSpPr/>
            <p:nvPr/>
          </p:nvSpPr>
          <p:spPr bwMode="auto">
            <a:xfrm>
              <a:off x="6375400" y="1376894"/>
              <a:ext cx="540000" cy="54000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2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</a:rPr>
                <a:t>03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56625373-F643-46EB-B034-963D9A1F530B}"/>
              </a:ext>
            </a:extLst>
          </p:cNvPr>
          <p:cNvGrpSpPr/>
          <p:nvPr/>
        </p:nvGrpSpPr>
        <p:grpSpPr>
          <a:xfrm>
            <a:off x="6375400" y="5411101"/>
            <a:ext cx="5481638" cy="756962"/>
            <a:chOff x="6375400" y="1268413"/>
            <a:chExt cx="5481638" cy="756962"/>
          </a:xfrm>
        </p:grpSpPr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AA3EDBB9-832D-4DCE-A739-8E94AF33D186}"/>
                </a:ext>
              </a:extLst>
            </p:cNvPr>
            <p:cNvSpPr/>
            <p:nvPr/>
          </p:nvSpPr>
          <p:spPr bwMode="auto">
            <a:xfrm>
              <a:off x="7169150" y="1268413"/>
              <a:ext cx="4687888" cy="756962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dirty="0">
                  <a:solidFill>
                    <a:schemeClr val="tx1"/>
                  </a:solidFill>
                  <a:latin typeface="Arial" pitchFamily="34" charset="0"/>
                </a:rPr>
                <a:t>Lösungsmenge soll </a:t>
              </a:r>
              <a:r>
                <a:rPr lang="de-DE" dirty="0" err="1">
                  <a:solidFill>
                    <a:schemeClr val="tx1"/>
                  </a:solidFill>
                  <a:latin typeface="Arial" pitchFamily="34" charset="0"/>
                </a:rPr>
                <a:t>Endmodel</a:t>
              </a:r>
              <a:r>
                <a:rPr lang="de-DE" dirty="0">
                  <a:solidFill>
                    <a:schemeClr val="tx1"/>
                  </a:solidFill>
                  <a:latin typeface="Arial" pitchFamily="34" charset="0"/>
                </a:rPr>
                <a:t> erstellen</a:t>
              </a: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DDDD3FFC-4D24-43D8-AC1A-72974BC14627}"/>
                </a:ext>
              </a:extLst>
            </p:cNvPr>
            <p:cNvSpPr/>
            <p:nvPr/>
          </p:nvSpPr>
          <p:spPr bwMode="auto">
            <a:xfrm>
              <a:off x="6375400" y="1376894"/>
              <a:ext cx="540000" cy="5400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2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</a:rPr>
                <a:t>04</a:t>
              </a:r>
            </a:p>
          </p:txBody>
        </p:sp>
      </p:grp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6964F4BD-42BF-470A-8BA1-C1E383BFDCE7}"/>
              </a:ext>
            </a:extLst>
          </p:cNvPr>
          <p:cNvCxnSpPr/>
          <p:nvPr/>
        </p:nvCxnSpPr>
        <p:spPr bwMode="auto">
          <a:xfrm>
            <a:off x="6375400" y="5126011"/>
            <a:ext cx="5481638" cy="0"/>
          </a:xfrm>
          <a:prstGeom prst="line">
            <a:avLst/>
          </a:prstGeom>
          <a:ln w="12700">
            <a:prstDash val="sysDot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D9D18833-B2D8-4B69-9584-042A2B2DC9AC}"/>
              </a:ext>
            </a:extLst>
          </p:cNvPr>
          <p:cNvCxnSpPr/>
          <p:nvPr/>
        </p:nvCxnSpPr>
        <p:spPr bwMode="auto">
          <a:xfrm>
            <a:off x="6375400" y="3798869"/>
            <a:ext cx="5481638" cy="0"/>
          </a:xfrm>
          <a:prstGeom prst="line">
            <a:avLst/>
          </a:prstGeom>
          <a:ln w="12700">
            <a:prstDash val="sysDot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2021B6EE-494A-475A-87F9-7940A00E4301}"/>
              </a:ext>
            </a:extLst>
          </p:cNvPr>
          <p:cNvCxnSpPr/>
          <p:nvPr/>
        </p:nvCxnSpPr>
        <p:spPr bwMode="auto">
          <a:xfrm>
            <a:off x="6375400" y="2471729"/>
            <a:ext cx="5481638" cy="0"/>
          </a:xfrm>
          <a:prstGeom prst="line">
            <a:avLst/>
          </a:prstGeom>
          <a:ln w="12700">
            <a:prstDash val="sysDot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F7EB73CB-0A91-87AA-1B73-E70D651F3E32}"/>
              </a:ext>
            </a:extLst>
          </p:cNvPr>
          <p:cNvSpPr/>
          <p:nvPr/>
        </p:nvSpPr>
        <p:spPr bwMode="auto">
          <a:xfrm>
            <a:off x="334963" y="6321866"/>
            <a:ext cx="9468458" cy="33702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lang="de-DE" sz="80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r>
              <a:rPr kumimoji="0" lang="de-DE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Quelle: fuks e.V.</a:t>
            </a:r>
          </a:p>
        </p:txBody>
      </p:sp>
    </p:spTree>
    <p:extLst>
      <p:ext uri="{BB962C8B-B14F-4D97-AF65-F5344CB8AC3E}">
        <p14:creationId xmlns:p14="http://schemas.microsoft.com/office/powerpoint/2010/main" val="420066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2_fuks_Folienmaster_2022">
  <a:themeElements>
    <a:clrScheme name="fuks 2022">
      <a:dk1>
        <a:srgbClr val="000000"/>
      </a:dk1>
      <a:lt1>
        <a:srgbClr val="FFFFFF"/>
      </a:lt1>
      <a:dk2>
        <a:srgbClr val="646464"/>
      </a:dk2>
      <a:lt2>
        <a:srgbClr val="E6E6E6"/>
      </a:lt2>
      <a:accent1>
        <a:srgbClr val="EB5E28"/>
      </a:accent1>
      <a:accent2>
        <a:srgbClr val="235789"/>
      </a:accent2>
      <a:accent3>
        <a:srgbClr val="9CAEA9"/>
      </a:accent3>
      <a:accent4>
        <a:srgbClr val="646464"/>
      </a:accent4>
      <a:accent5>
        <a:srgbClr val="BEBEBE"/>
      </a:accent5>
      <a:accent6>
        <a:srgbClr val="E6E6E6"/>
      </a:accent6>
      <a:hlink>
        <a:srgbClr val="0096CD"/>
      </a:hlink>
      <a:folHlink>
        <a:srgbClr val="808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5</Words>
  <Application>Microsoft Macintosh PowerPoint</Application>
  <PresentationFormat>Widescreen</PresentationFormat>
  <Paragraphs>51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Arimo</vt:lpstr>
      <vt:lpstr>Noto Sans Symbols</vt:lpstr>
      <vt:lpstr>Wingdings</vt:lpstr>
      <vt:lpstr>02_fuks_Folienmaster_2022</vt:lpstr>
      <vt:lpstr>think-cell Slide</vt:lpstr>
      <vt:lpstr>Leere Präsentation</vt:lpstr>
      <vt:lpstr>Agenda</vt:lpstr>
      <vt:lpstr>PowerPoint Presentation</vt:lpstr>
      <vt:lpstr>Agenda</vt:lpstr>
      <vt:lpstr>PowerPoint Presentation</vt:lpstr>
      <vt:lpstr>Verschiedene Arbeitspakete decken den gesamten Raum ab </vt:lpstr>
      <vt:lpstr>Schnittmengen 3 Kreise mit Erklärung der Schnittmeng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ere Präsentation</dc:title>
  <dc:creator>Alexander Böhle</dc:creator>
  <cp:lastModifiedBy>Neumann, Aaron David</cp:lastModifiedBy>
  <cp:revision>2</cp:revision>
  <dcterms:created xsi:type="dcterms:W3CDTF">2010-07-13T20:23:49Z</dcterms:created>
  <dcterms:modified xsi:type="dcterms:W3CDTF">2023-05-25T15:32:41Z</dcterms:modified>
</cp:coreProperties>
</file>